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comment1.xml" ContentType="application/vnd.openxmlformats-officedocument.presentationml.comment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77" r:id="rId1"/>
  </p:sldMasterIdLst>
  <p:notesMasterIdLst>
    <p:notesMasterId r:id="rId10"/>
  </p:notesMasterIdLst>
  <p:handoutMasterIdLst>
    <p:handoutMasterId r:id="rId11"/>
  </p:handoutMasterIdLst>
  <p:sldIdLst>
    <p:sldId id="848" r:id="rId2"/>
    <p:sldId id="849" r:id="rId3"/>
    <p:sldId id="862" r:id="rId4"/>
    <p:sldId id="868" r:id="rId5"/>
    <p:sldId id="865" r:id="rId6"/>
    <p:sldId id="866" r:id="rId7"/>
    <p:sldId id="861" r:id="rId8"/>
    <p:sldId id="832" r:id="rId9"/>
  </p:sldIdLst>
  <p:sldSz cx="9906000" cy="6858000" type="A4"/>
  <p:notesSz cx="7099300" cy="10234613"/>
  <p:custDataLst>
    <p:tags r:id="rId1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1pPr>
    <a:lvl2pPr marL="334963" indent="11906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2pPr>
    <a:lvl3pPr marL="671513" indent="23971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3pPr>
    <a:lvl4pPr marL="1008063" indent="36036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4pPr>
    <a:lvl5pPr marL="1344613" indent="48101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5pPr>
    <a:lvl6pPr marL="22860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6pPr>
    <a:lvl7pPr marL="27432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7pPr>
    <a:lvl8pPr marL="32004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8pPr>
    <a:lvl9pPr marL="36576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77">
          <p15:clr>
            <a:srgbClr val="A4A3A4"/>
          </p15:clr>
        </p15:guide>
        <p15:guide id="2" orient="horz" pos="3929">
          <p15:clr>
            <a:srgbClr val="A4A3A4"/>
          </p15:clr>
        </p15:guide>
        <p15:guide id="3" orient="horz" pos="3930">
          <p15:clr>
            <a:srgbClr val="A4A3A4"/>
          </p15:clr>
        </p15:guide>
        <p15:guide id="4" orient="horz" pos="1094">
          <p15:clr>
            <a:srgbClr val="A4A3A4"/>
          </p15:clr>
        </p15:guide>
        <p15:guide id="5" orient="horz" pos="278">
          <p15:clr>
            <a:srgbClr val="A4A3A4"/>
          </p15:clr>
        </p15:guide>
        <p15:guide id="6" orient="horz" pos="981">
          <p15:clr>
            <a:srgbClr val="A4A3A4"/>
          </p15:clr>
        </p15:guide>
        <p15:guide id="7" pos="398">
          <p15:clr>
            <a:srgbClr val="A4A3A4"/>
          </p15:clr>
        </p15:guide>
        <p15:guide id="8" pos="5842">
          <p15:clr>
            <a:srgbClr val="A4A3A4"/>
          </p15:clr>
        </p15:guide>
        <p15:guide id="9" pos="625">
          <p15:clr>
            <a:srgbClr val="A4A3A4"/>
          </p15:clr>
        </p15:guide>
        <p15:guide id="10" pos="1102">
          <p15:clr>
            <a:srgbClr val="A4A3A4"/>
          </p15:clr>
        </p15:guide>
        <p15:guide id="11" pos="87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eebana Rajendram" initials="TR" lastIdx="3" clrIdx="0">
    <p:extLst>
      <p:ext uri="{19B8F6BF-5375-455C-9EA6-DF929625EA0E}">
        <p15:presenceInfo xmlns:p15="http://schemas.microsoft.com/office/powerpoint/2012/main" userId="f0fd86f2b187c5f5" providerId="Windows Live"/>
      </p:ext>
    </p:extLst>
  </p:cmAuthor>
  <p:cmAuthor id="2" name="Linda Samsinger (lsamsi)" initials="LS(" lastIdx="2" clrIdx="1">
    <p:extLst>
      <p:ext uri="{19B8F6BF-5375-455C-9EA6-DF929625EA0E}">
        <p15:presenceInfo xmlns:p15="http://schemas.microsoft.com/office/powerpoint/2012/main" userId="Linda Samsinger (lsamsi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1FF"/>
    <a:srgbClr val="FFEFFF"/>
    <a:srgbClr val="FFCCFF"/>
    <a:srgbClr val="B6DF89"/>
    <a:srgbClr val="000000"/>
    <a:srgbClr val="FFD13F"/>
    <a:srgbClr val="97E4FF"/>
    <a:srgbClr val="FFC000"/>
    <a:srgbClr val="FFFF00"/>
    <a:srgbClr val="ABF0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95" autoAdjust="0"/>
    <p:restoredTop sz="79959" autoAdjust="0"/>
  </p:normalViewPr>
  <p:slideViewPr>
    <p:cSldViewPr snapToObjects="1">
      <p:cViewPr varScale="1">
        <p:scale>
          <a:sx n="105" d="100"/>
          <a:sy n="105" d="100"/>
        </p:scale>
        <p:origin x="1380" y="96"/>
      </p:cViewPr>
      <p:guideLst>
        <p:guide orient="horz" pos="277"/>
        <p:guide orient="horz" pos="3929"/>
        <p:guide orient="horz" pos="3930"/>
        <p:guide orient="horz" pos="1094"/>
        <p:guide orient="horz" pos="278"/>
        <p:guide orient="horz" pos="981"/>
        <p:guide pos="398"/>
        <p:guide pos="5842"/>
        <p:guide pos="625"/>
        <p:guide pos="1102"/>
        <p:guide pos="8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5" d="100"/>
          <a:sy n="55" d="100"/>
        </p:scale>
        <p:origin x="-3704" y="-104"/>
      </p:cViewPr>
      <p:guideLst>
        <p:guide orient="horz" pos="3223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4-21T12:14:57.124" idx="1">
    <p:pos x="10" y="10"/>
    <p:text>take out spell-check</p:text>
    <p:extLst>
      <p:ext uri="{C676402C-5697-4E1C-873F-D02D1690AC5C}">
        <p15:threadingInfo xmlns:p15="http://schemas.microsoft.com/office/powerpoint/2012/main" timeZoneBias="-1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19T23:36:26.166" idx="3">
    <p:pos x="5313" y="3501"/>
    <p:text>Link to the Demo</p:text>
    <p:extLst>
      <p:ext uri="{C676402C-5697-4E1C-873F-D02D1690AC5C}">
        <p15:threadingInfo xmlns:p15="http://schemas.microsoft.com/office/powerpoint/2012/main" timeZoneBias="-120"/>
      </p:ext>
    </p:extLst>
  </p:cm>
</p:cmLst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30.PNG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30.PNG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/>
            <a:t>Request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/>
            <a:t>Response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/>
            <a:t>Web Application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/>
            <a:t>Deep Learning Model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 custLinFactNeighborX="333" custLinFactNeighborY="-1981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C186A1A-0102-4F21-A74C-63E020EF9D70}" type="doc">
      <dgm:prSet loTypeId="urn:microsoft.com/office/officeart/2008/layout/TitledPictureBlocks" loCatId="pictur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98112BB7-05EE-4D64-A617-C6DFF9B3C9A2}">
      <dgm:prSet phldrT="[Text]"/>
      <dgm:spPr/>
      <dgm:t>
        <a:bodyPr/>
        <a:lstStyle/>
        <a:p>
          <a:r>
            <a:rPr lang="de-CH"/>
            <a:t>Input: Brand Image</a:t>
          </a:r>
        </a:p>
      </dgm:t>
    </dgm:pt>
    <dgm:pt modelId="{EBA341AB-7739-4C9C-9680-D3B2E6F81BAB}" type="parTrans" cxnId="{F950C0E4-ECF1-4508-B254-B54CAF70A7B7}">
      <dgm:prSet/>
      <dgm:spPr/>
      <dgm:t>
        <a:bodyPr/>
        <a:lstStyle/>
        <a:p>
          <a:endParaRPr lang="de-CH"/>
        </a:p>
      </dgm:t>
    </dgm:pt>
    <dgm:pt modelId="{6DFFFC3A-2321-4262-A509-66542788A4D6}" type="sibTrans" cxnId="{F950C0E4-ECF1-4508-B254-B54CAF70A7B7}">
      <dgm:prSet/>
      <dgm:spPr/>
      <dgm:t>
        <a:bodyPr/>
        <a:lstStyle/>
        <a:p>
          <a:endParaRPr lang="de-CH"/>
        </a:p>
      </dgm:t>
    </dgm:pt>
    <dgm:pt modelId="{B2CB0E99-6729-4E23-AA16-5EEF100F5516}" type="pres">
      <dgm:prSet presAssocID="{4C186A1A-0102-4F21-A74C-63E020EF9D70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C3375C94-53B5-4709-ACB6-7EB8DCBBC6E4}" type="pres">
      <dgm:prSet presAssocID="{98112BB7-05EE-4D64-A617-C6DFF9B3C9A2}" presName="composite" presStyleCnt="0"/>
      <dgm:spPr/>
    </dgm:pt>
    <dgm:pt modelId="{4410D1C5-5299-4434-911D-48C21622B9EB}" type="pres">
      <dgm:prSet presAssocID="{98112BB7-05EE-4D64-A617-C6DFF9B3C9A2}" presName="ParentText" presStyleLbl="node1" presStyleIdx="0" presStyleCnt="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2515C0-51EE-43F7-B816-E9E9B76C7F4D}" type="pres">
      <dgm:prSet presAssocID="{98112BB7-05EE-4D64-A617-C6DFF9B3C9A2}" presName="Image" presStyleLbl="b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9050">
          <a:solidFill>
            <a:srgbClr val="FFE1FF"/>
          </a:solidFill>
        </a:ln>
      </dgm:spPr>
      <dgm:t>
        <a:bodyPr/>
        <a:lstStyle/>
        <a:p>
          <a:endParaRPr lang="en-US"/>
        </a:p>
      </dgm:t>
    </dgm:pt>
    <dgm:pt modelId="{6CA2013A-D747-4F29-8854-A237704ED6FB}" type="pres">
      <dgm:prSet presAssocID="{98112BB7-05EE-4D64-A617-C6DFF9B3C9A2}" presName="ChildText" presStyleLbl="fgAcc1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3A8BB80E-3204-4F7A-BB7E-36527AA8B445}" type="presOf" srcId="{98112BB7-05EE-4D64-A617-C6DFF9B3C9A2}" destId="{4410D1C5-5299-4434-911D-48C21622B9EB}" srcOrd="0" destOrd="0" presId="urn:microsoft.com/office/officeart/2008/layout/TitledPictureBlocks"/>
    <dgm:cxn modelId="{FD7CF9AA-9E26-4D5B-AB31-D2BB69D852D7}" type="presOf" srcId="{4C186A1A-0102-4F21-A74C-63E020EF9D70}" destId="{B2CB0E99-6729-4E23-AA16-5EEF100F5516}" srcOrd="0" destOrd="0" presId="urn:microsoft.com/office/officeart/2008/layout/TitledPictureBlocks"/>
    <dgm:cxn modelId="{F950C0E4-ECF1-4508-B254-B54CAF70A7B7}" srcId="{4C186A1A-0102-4F21-A74C-63E020EF9D70}" destId="{98112BB7-05EE-4D64-A617-C6DFF9B3C9A2}" srcOrd="0" destOrd="0" parTransId="{EBA341AB-7739-4C9C-9680-D3B2E6F81BAB}" sibTransId="{6DFFFC3A-2321-4262-A509-66542788A4D6}"/>
    <dgm:cxn modelId="{0559814D-6C2C-441A-9745-3ECE207F411E}" type="presParOf" srcId="{B2CB0E99-6729-4E23-AA16-5EEF100F5516}" destId="{C3375C94-53B5-4709-ACB6-7EB8DCBBC6E4}" srcOrd="0" destOrd="0" presId="urn:microsoft.com/office/officeart/2008/layout/TitledPictureBlocks"/>
    <dgm:cxn modelId="{7217F51A-0541-4B03-80CE-D201BCD1AAF4}" type="presParOf" srcId="{C3375C94-53B5-4709-ACB6-7EB8DCBBC6E4}" destId="{4410D1C5-5299-4434-911D-48C21622B9EB}" srcOrd="0" destOrd="0" presId="urn:microsoft.com/office/officeart/2008/layout/TitledPictureBlocks"/>
    <dgm:cxn modelId="{008E9313-1DEF-4986-A8DA-6BADC34CA177}" type="presParOf" srcId="{C3375C94-53B5-4709-ACB6-7EB8DCBBC6E4}" destId="{3C2515C0-51EE-43F7-B816-E9E9B76C7F4D}" srcOrd="1" destOrd="0" presId="urn:microsoft.com/office/officeart/2008/layout/TitledPictureBlocks"/>
    <dgm:cxn modelId="{75F56616-F3C9-4A79-98EB-5A0D6665D932}" type="presParOf" srcId="{C3375C94-53B5-4709-ACB6-7EB8DCBBC6E4}" destId="{6CA2013A-D747-4F29-8854-A237704ED6FB}" srcOrd="2" destOrd="0" presId="urn:microsoft.com/office/officeart/2008/layout/TitledPictureBlock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C186A1A-0102-4F21-A74C-63E020EF9D70}" type="doc">
      <dgm:prSet loTypeId="urn:microsoft.com/office/officeart/2008/layout/TitledPictureBlocks" loCatId="pictur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98112BB7-05EE-4D64-A617-C6DFF9B3C9A2}">
      <dgm:prSet phldrT="[Text]"/>
      <dgm:spPr>
        <a:solidFill>
          <a:schemeClr val="accent2"/>
        </a:solidFill>
      </dgm:spPr>
      <dgm:t>
        <a:bodyPr/>
        <a:lstStyle/>
        <a:p>
          <a:r>
            <a:rPr lang="de-CH"/>
            <a:t>Output: Class Label</a:t>
          </a:r>
        </a:p>
      </dgm:t>
    </dgm:pt>
    <dgm:pt modelId="{EBA341AB-7739-4C9C-9680-D3B2E6F81BAB}" type="parTrans" cxnId="{F950C0E4-ECF1-4508-B254-B54CAF70A7B7}">
      <dgm:prSet/>
      <dgm:spPr/>
      <dgm:t>
        <a:bodyPr/>
        <a:lstStyle/>
        <a:p>
          <a:endParaRPr lang="de-CH"/>
        </a:p>
      </dgm:t>
    </dgm:pt>
    <dgm:pt modelId="{6DFFFC3A-2321-4262-A509-66542788A4D6}" type="sibTrans" cxnId="{F950C0E4-ECF1-4508-B254-B54CAF70A7B7}">
      <dgm:prSet/>
      <dgm:spPr/>
      <dgm:t>
        <a:bodyPr/>
        <a:lstStyle/>
        <a:p>
          <a:endParaRPr lang="de-CH"/>
        </a:p>
      </dgm:t>
    </dgm:pt>
    <dgm:pt modelId="{B2CB0E99-6729-4E23-AA16-5EEF100F5516}" type="pres">
      <dgm:prSet presAssocID="{4C186A1A-0102-4F21-A74C-63E020EF9D70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C3375C94-53B5-4709-ACB6-7EB8DCBBC6E4}" type="pres">
      <dgm:prSet presAssocID="{98112BB7-05EE-4D64-A617-C6DFF9B3C9A2}" presName="composite" presStyleCnt="0"/>
      <dgm:spPr/>
    </dgm:pt>
    <dgm:pt modelId="{4410D1C5-5299-4434-911D-48C21622B9EB}" type="pres">
      <dgm:prSet presAssocID="{98112BB7-05EE-4D64-A617-C6DFF9B3C9A2}" presName="ParentText" presStyleLbl="node1" presStyleIdx="0" presStyleCnt="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2515C0-51EE-43F7-B816-E9E9B76C7F4D}" type="pres">
      <dgm:prSet presAssocID="{98112BB7-05EE-4D64-A617-C6DFF9B3C9A2}" presName="Image" presStyleLbl="bgImgPlace1" presStyleIdx="0" presStyleCnt="1"/>
      <dgm:spPr>
        <a:blipFill dpi="0" rotWithShape="1">
          <a:blip xmlns:r="http://schemas.openxmlformats.org/officeDocument/2006/relationships" r:embed="rId1">
            <a:alphaModFix amt="60000"/>
          </a:blip>
          <a:srcRect/>
          <a:stretch>
            <a:fillRect l="828" t="20983" r="828" b="20983"/>
          </a:stretch>
        </a:blipFill>
        <a:ln w="12700">
          <a:solidFill>
            <a:srgbClr val="FFE1FF"/>
          </a:solidFill>
        </a:ln>
      </dgm:spPr>
      <dgm:t>
        <a:bodyPr/>
        <a:lstStyle/>
        <a:p>
          <a:endParaRPr lang="en-US"/>
        </a:p>
      </dgm:t>
    </dgm:pt>
    <dgm:pt modelId="{6CA2013A-D747-4F29-8854-A237704ED6FB}" type="pres">
      <dgm:prSet presAssocID="{98112BB7-05EE-4D64-A617-C6DFF9B3C9A2}" presName="ChildText" presStyleLbl="fgAcc1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3A8BB80E-3204-4F7A-BB7E-36527AA8B445}" type="presOf" srcId="{98112BB7-05EE-4D64-A617-C6DFF9B3C9A2}" destId="{4410D1C5-5299-4434-911D-48C21622B9EB}" srcOrd="0" destOrd="0" presId="urn:microsoft.com/office/officeart/2008/layout/TitledPictureBlocks"/>
    <dgm:cxn modelId="{FD7CF9AA-9E26-4D5B-AB31-D2BB69D852D7}" type="presOf" srcId="{4C186A1A-0102-4F21-A74C-63E020EF9D70}" destId="{B2CB0E99-6729-4E23-AA16-5EEF100F5516}" srcOrd="0" destOrd="0" presId="urn:microsoft.com/office/officeart/2008/layout/TitledPictureBlocks"/>
    <dgm:cxn modelId="{F950C0E4-ECF1-4508-B254-B54CAF70A7B7}" srcId="{4C186A1A-0102-4F21-A74C-63E020EF9D70}" destId="{98112BB7-05EE-4D64-A617-C6DFF9B3C9A2}" srcOrd="0" destOrd="0" parTransId="{EBA341AB-7739-4C9C-9680-D3B2E6F81BAB}" sibTransId="{6DFFFC3A-2321-4262-A509-66542788A4D6}"/>
    <dgm:cxn modelId="{0559814D-6C2C-441A-9745-3ECE207F411E}" type="presParOf" srcId="{B2CB0E99-6729-4E23-AA16-5EEF100F5516}" destId="{C3375C94-53B5-4709-ACB6-7EB8DCBBC6E4}" srcOrd="0" destOrd="0" presId="urn:microsoft.com/office/officeart/2008/layout/TitledPictureBlocks"/>
    <dgm:cxn modelId="{7217F51A-0541-4B03-80CE-D201BCD1AAF4}" type="presParOf" srcId="{C3375C94-53B5-4709-ACB6-7EB8DCBBC6E4}" destId="{4410D1C5-5299-4434-911D-48C21622B9EB}" srcOrd="0" destOrd="0" presId="urn:microsoft.com/office/officeart/2008/layout/TitledPictureBlocks"/>
    <dgm:cxn modelId="{008E9313-1DEF-4986-A8DA-6BADC34CA177}" type="presParOf" srcId="{C3375C94-53B5-4709-ACB6-7EB8DCBBC6E4}" destId="{3C2515C0-51EE-43F7-B816-E9E9B76C7F4D}" srcOrd="1" destOrd="0" presId="urn:microsoft.com/office/officeart/2008/layout/TitledPictureBlocks"/>
    <dgm:cxn modelId="{75F56616-F3C9-4A79-98EB-5A0D6665D932}" type="presParOf" srcId="{C3375C94-53B5-4709-ACB6-7EB8DCBBC6E4}" destId="{6CA2013A-D747-4F29-8854-A237704ED6FB}" srcOrd="2" destOrd="0" presId="urn:microsoft.com/office/officeart/2008/layout/TitledPictureBlock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143553"/>
          <a:ext cx="2173635" cy="41858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900" b="1" kern="1200"/>
            <a:t>Request</a:t>
          </a:r>
        </a:p>
      </dsp:txBody>
      <dsp:txXfrm>
        <a:off x="0" y="143553"/>
        <a:ext cx="2173635" cy="418586"/>
      </dsp:txXfrm>
    </dsp:sp>
    <dsp:sp modelId="{C09B49A9-F287-466D-9FA8-2969A250D43B}">
      <dsp:nvSpPr>
        <dsp:cNvPr id="0" name=""/>
        <dsp:cNvSpPr/>
      </dsp:nvSpPr>
      <dsp:spPr>
        <a:xfrm>
          <a:off x="0" y="520175"/>
          <a:ext cx="2173635" cy="10101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112206"/>
          <a:ext cx="2173635" cy="41858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900" b="1" kern="1200"/>
            <a:t>Response</a:t>
          </a:r>
        </a:p>
      </dsp:txBody>
      <dsp:txXfrm>
        <a:off x="0" y="112206"/>
        <a:ext cx="2173635" cy="418586"/>
      </dsp:txXfrm>
    </dsp:sp>
    <dsp:sp modelId="{C09B49A9-F287-466D-9FA8-2969A250D43B}">
      <dsp:nvSpPr>
        <dsp:cNvPr id="0" name=""/>
        <dsp:cNvSpPr/>
      </dsp:nvSpPr>
      <dsp:spPr>
        <a:xfrm>
          <a:off x="0" y="488828"/>
          <a:ext cx="2173635" cy="10101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61005"/>
          <a:ext cx="2173635" cy="31186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300" b="1" kern="1200"/>
            <a:t>Web Application</a:t>
          </a:r>
        </a:p>
      </dsp:txBody>
      <dsp:txXfrm>
        <a:off x="0" y="61005"/>
        <a:ext cx="2173635" cy="311867"/>
      </dsp:txXfrm>
    </dsp:sp>
    <dsp:sp modelId="{C09B49A9-F287-466D-9FA8-2969A250D43B}">
      <dsp:nvSpPr>
        <dsp:cNvPr id="0" name=""/>
        <dsp:cNvSpPr/>
      </dsp:nvSpPr>
      <dsp:spPr>
        <a:xfrm>
          <a:off x="0" y="341607"/>
          <a:ext cx="2173635" cy="5709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0"/>
          <a:ext cx="2173635" cy="31186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300" b="1" kern="1200"/>
            <a:t>Deep Learning Model</a:t>
          </a:r>
        </a:p>
      </dsp:txBody>
      <dsp:txXfrm>
        <a:off x="0" y="0"/>
        <a:ext cx="2173635" cy="311867"/>
      </dsp:txXfrm>
    </dsp:sp>
    <dsp:sp modelId="{C09B49A9-F287-466D-9FA8-2969A250D43B}">
      <dsp:nvSpPr>
        <dsp:cNvPr id="0" name=""/>
        <dsp:cNvSpPr/>
      </dsp:nvSpPr>
      <dsp:spPr>
        <a:xfrm>
          <a:off x="0" y="341607"/>
          <a:ext cx="2173635" cy="5709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2515C0-51EE-43F7-B816-E9E9B76C7F4D}">
      <dsp:nvSpPr>
        <dsp:cNvPr id="0" name=""/>
        <dsp:cNvSpPr/>
      </dsp:nvSpPr>
      <dsp:spPr>
        <a:xfrm>
          <a:off x="255213" y="307185"/>
          <a:ext cx="1859596" cy="157562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9050" cap="flat" cmpd="sng" algn="ctr">
          <a:solidFill>
            <a:srgbClr val="FFE1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0D1C5-5299-4434-911D-48C21622B9EB}">
      <dsp:nvSpPr>
        <dsp:cNvPr id="0" name=""/>
        <dsp:cNvSpPr/>
      </dsp:nvSpPr>
      <dsp:spPr>
        <a:xfrm>
          <a:off x="255213" y="6748"/>
          <a:ext cx="1859596" cy="27131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300" kern="1200"/>
            <a:t>Input: Brand Image</a:t>
          </a:r>
        </a:p>
      </dsp:txBody>
      <dsp:txXfrm>
        <a:off x="255213" y="6748"/>
        <a:ext cx="1859596" cy="27131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2515C0-51EE-43F7-B816-E9E9B76C7F4D}">
      <dsp:nvSpPr>
        <dsp:cNvPr id="0" name=""/>
        <dsp:cNvSpPr/>
      </dsp:nvSpPr>
      <dsp:spPr>
        <a:xfrm>
          <a:off x="255213" y="307185"/>
          <a:ext cx="1859596" cy="1575625"/>
        </a:xfrm>
        <a:prstGeom prst="rect">
          <a:avLst/>
        </a:prstGeom>
        <a:blipFill dpi="0" rotWithShape="1">
          <a:blip xmlns:r="http://schemas.openxmlformats.org/officeDocument/2006/relationships" r:embed="rId1">
            <a:alphaModFix amt="60000"/>
          </a:blip>
          <a:srcRect/>
          <a:stretch>
            <a:fillRect l="828" t="20983" r="828" b="20983"/>
          </a:stretch>
        </a:blipFill>
        <a:ln w="12700" cap="flat" cmpd="sng" algn="ctr">
          <a:solidFill>
            <a:srgbClr val="FFE1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0D1C5-5299-4434-911D-48C21622B9EB}">
      <dsp:nvSpPr>
        <dsp:cNvPr id="0" name=""/>
        <dsp:cNvSpPr/>
      </dsp:nvSpPr>
      <dsp:spPr>
        <a:xfrm>
          <a:off x="255213" y="6748"/>
          <a:ext cx="1859596" cy="271316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300" kern="1200"/>
            <a:t>Output: Class Label</a:t>
          </a:r>
        </a:p>
      </dsp:txBody>
      <dsp:txXfrm>
        <a:off x="255213" y="6748"/>
        <a:ext cx="1859596" cy="2713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TitledPictureBlocks">
  <dgm:title val=""/>
  <dgm:desc val=""/>
  <dgm:catLst>
    <dgm:cat type="picture" pri="10000"/>
    <dgm:cat type="pictureconvert" pri="10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off" val="ctr"/>
          <dgm:param type="grDir" val="tL"/>
        </dgm:alg>
      </dgm:if>
      <dgm:else name="Name2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op="equ"/>
      <dgm:constr type="primFontSz" for="des" forName="ChildText" op="equ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787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ParentText" refType="w" fact="0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"/>
              <dgm:constr type="t" for="ch" forName="Image" refType="h" fact="0.1661"/>
              <dgm:constr type="w" for="ch" forName="Image" refType="w" fact="0.7457"/>
              <dgm:constr type="h" for="ch" forName="Image" refType="h" fact="0.8711"/>
              <dgm:constr type="l" for="ch" forName="ChildText" refType="w" fact="0.6464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if>
          <dgm:else name="Name5">
            <dgm:constrLst>
              <dgm:constr type="l" for="ch" forName="ParentText" refType="w" fact="0.26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.26"/>
              <dgm:constr type="t" for="ch" forName="Image" refType="h" fact="0.1661"/>
              <dgm:constr type="w" for="ch" forName="Image" refType="w" fact="0.7446"/>
              <dgm:constr type="h" for="ch" forName="Image" refType="h" fact="0.8711"/>
              <dgm:constr type="l" for="ch" forName="ChildText" refType="w" fact="0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else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Image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Text" styleLbl="fgAcc1">
          <dgm:varLst>
            <dgm:chMax val="0"/>
            <dgm:chPref val="0"/>
            <dgm:bulletEnabled val="1"/>
          </dgm:varLst>
          <dgm:choose name="Name6">
            <dgm:if name="Name7" axis="des" ptType="node" func="cnt" op="equ" val="1">
              <dgm:alg type="tx">
                <dgm:param type="stBulletLvl" val="2"/>
                <dgm:param type="txAnchorVertCh" val="mid"/>
                <dgm:param type="parTxLTRAlign" val="l"/>
              </dgm:alg>
            </dgm:if>
            <dgm:else name="Name8">
              <dgm:alg type="tx">
                <dgm:param type="stBulletLvl" val="1"/>
                <dgm:param type="txAnchorVertCh" val="mid"/>
              </dgm:alg>
            </dgm:else>
          </dgm:choose>
          <dgm:choose name="Name9">
            <dgm:if name="Name10" axis="ch" ptType="node" func="cnt" op="gte" val="1"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</dgm:if>
            <dgm:else name="Name11"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TitledPictureBlocks">
  <dgm:title val=""/>
  <dgm:desc val=""/>
  <dgm:catLst>
    <dgm:cat type="picture" pri="10000"/>
    <dgm:cat type="pictureconvert" pri="10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off" val="ctr"/>
          <dgm:param type="grDir" val="tL"/>
        </dgm:alg>
      </dgm:if>
      <dgm:else name="Name2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op="equ"/>
      <dgm:constr type="primFontSz" for="des" forName="ChildText" op="equ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787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ParentText" refType="w" fact="0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"/>
              <dgm:constr type="t" for="ch" forName="Image" refType="h" fact="0.1661"/>
              <dgm:constr type="w" for="ch" forName="Image" refType="w" fact="0.7457"/>
              <dgm:constr type="h" for="ch" forName="Image" refType="h" fact="0.8711"/>
              <dgm:constr type="l" for="ch" forName="ChildText" refType="w" fact="0.6464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if>
          <dgm:else name="Name5">
            <dgm:constrLst>
              <dgm:constr type="l" for="ch" forName="ParentText" refType="w" fact="0.26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.26"/>
              <dgm:constr type="t" for="ch" forName="Image" refType="h" fact="0.1661"/>
              <dgm:constr type="w" for="ch" forName="Image" refType="w" fact="0.7446"/>
              <dgm:constr type="h" for="ch" forName="Image" refType="h" fact="0.8711"/>
              <dgm:constr type="l" for="ch" forName="ChildText" refType="w" fact="0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else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Image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Text" styleLbl="fgAcc1">
          <dgm:varLst>
            <dgm:chMax val="0"/>
            <dgm:chPref val="0"/>
            <dgm:bulletEnabled val="1"/>
          </dgm:varLst>
          <dgm:choose name="Name6">
            <dgm:if name="Name7" axis="des" ptType="node" func="cnt" op="equ" val="1">
              <dgm:alg type="tx">
                <dgm:param type="stBulletLvl" val="2"/>
                <dgm:param type="txAnchorVertCh" val="mid"/>
                <dgm:param type="parTxLTRAlign" val="l"/>
              </dgm:alg>
            </dgm:if>
            <dgm:else name="Name8">
              <dgm:alg type="tx">
                <dgm:param type="stBulletLvl" val="1"/>
                <dgm:param type="txAnchorVertCh" val="mid"/>
              </dgm:alg>
            </dgm:else>
          </dgm:choose>
          <dgm:choose name="Name9">
            <dgm:if name="Name10" axis="ch" ptType="node" func="cnt" op="gte" val="1"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</dgm:if>
            <dgm:else name="Name11"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1766B9EA-E083-A94D-96A5-C5476B884CFE}" type="datetime1">
              <a:rPr lang="en-US"/>
              <a:pPr/>
              <a:t>4/2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B97C6CC3-1B99-CC41-8C4F-FD94DC1E378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066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3598794E-35F3-8D48-B244-F21DA91EADA9}" type="datetime1">
              <a:rPr lang="en-US"/>
              <a:pPr/>
              <a:t>4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8350"/>
            <a:ext cx="55403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CH" noProof="0"/>
              <a:t>Click to edit Master text styles</a:t>
            </a:r>
          </a:p>
          <a:p>
            <a:pPr lvl="1"/>
            <a:r>
              <a:rPr lang="de-CH" noProof="0"/>
              <a:t>Second level</a:t>
            </a:r>
          </a:p>
          <a:p>
            <a:pPr lvl="2"/>
            <a:r>
              <a:rPr lang="de-CH" noProof="0"/>
              <a:t>Third level</a:t>
            </a:r>
          </a:p>
          <a:p>
            <a:pPr lvl="3"/>
            <a:r>
              <a:rPr lang="de-CH" noProof="0"/>
              <a:t>Fourth level</a:t>
            </a:r>
          </a:p>
          <a:p>
            <a:pPr lvl="4"/>
            <a:r>
              <a:rPr lang="de-CH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2A9D45BF-071E-7C44-BE90-B011D0240A3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733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1pPr>
    <a:lvl2pPr marL="4556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2pPr>
    <a:lvl3pPr marL="9128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3pPr>
    <a:lvl4pPr marL="13700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4pPr>
    <a:lvl5pPr marL="18272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5pPr>
    <a:lvl6pPr marL="2285740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sz="1200" b="1" smtClean="0">
                <a:latin typeface="Source Sans Pro Light" charset="0"/>
                <a:cs typeface="Source Sans Pro Light" charset="0"/>
              </a:rPr>
              <a:t>Social Media:</a:t>
            </a:r>
            <a:r>
              <a:rPr lang="en-US" sz="1200" smtClean="0">
                <a:latin typeface="Source Sans Pro Light" charset="0"/>
                <a:cs typeface="Source Sans Pro Light" charset="0"/>
              </a:rPr>
              <a:t> Flickr (training), Instagram (testing)</a:t>
            </a:r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354013" algn="l"/>
              </a:tabLst>
              <a:defRPr/>
            </a:pPr>
            <a:r>
              <a:rPr lang="de-CH" b="1" i="0" smtClean="0">
                <a:latin typeface="Source Sans Pro Light" charset="0"/>
                <a:ea typeface="ヒラギノ角ゴ ProN W3" charset="0"/>
                <a:cs typeface="Source Sans Pro Light" charset="0"/>
              </a:rPr>
              <a:t>Machine Learning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: </a:t>
            </a:r>
            <a:r>
              <a:rPr lang="en-US" smtClean="0">
                <a:latin typeface="Source Sans Pro Light" charset="0"/>
                <a:cs typeface="Source Sans Pro Light" charset="0"/>
              </a:rPr>
              <a:t>build classifiers for each attribute using supervised learning &amp; a </a:t>
            </a:r>
            <a:r>
              <a:rPr lang="de-CH" smtClean="0">
                <a:latin typeface="Source Sans Pro Light" charset="0"/>
                <a:cs typeface="Source Sans Pro Light" charset="0"/>
              </a:rPr>
              <a:t>pre-trained self-designed deep learning Convolutional Neural Network </a:t>
            </a:r>
            <a:r>
              <a:rPr lang="en-US" smtClean="0">
                <a:latin typeface="Source Sans Pro Light" charset="0"/>
                <a:cs typeface="Source Sans Pro Light" charset="0"/>
              </a:rPr>
              <a:t>framework</a:t>
            </a:r>
            <a:endParaRPr lang="en-US" sz="1200" smtClean="0">
              <a:latin typeface="Source Sans Pro Light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de-CH" sz="1200" b="1" smtClean="0">
                <a:latin typeface="Source Sans Pro Light" charset="0"/>
                <a:cs typeface="Source Sans Pro Light" charset="0"/>
              </a:rPr>
              <a:t>Model</a:t>
            </a:r>
            <a:r>
              <a:rPr lang="de-CH" sz="1200" smtClean="0">
                <a:latin typeface="Source Sans Pro Light" charset="0"/>
                <a:cs typeface="Source Sans Pro Light" charset="0"/>
              </a:rPr>
              <a:t>: pre-trained self-designed deep learning Convolutional Neural Network </a:t>
            </a:r>
          </a:p>
          <a:p>
            <a:pPr>
              <a:spcBef>
                <a:spcPts val="300"/>
              </a:spcBef>
              <a:spcAft>
                <a:spcPts val="300"/>
              </a:spcAft>
              <a:tabLst>
                <a:tab pos="354013" algn="l"/>
              </a:tabLst>
            </a:pPr>
            <a:r>
              <a:rPr lang="de-CH" sz="1200" b="1" smtClean="0">
                <a:latin typeface="Source Sans Pro Light" charset="0"/>
                <a:cs typeface="Source Sans Pro Light" charset="0"/>
              </a:rPr>
              <a:t>Web Application</a:t>
            </a:r>
            <a:r>
              <a:rPr lang="de-CH" sz="1200" smtClean="0">
                <a:latin typeface="Source Sans Pro Light" charset="0"/>
                <a:cs typeface="Source Sans Pro Light" charset="0"/>
              </a:rPr>
              <a:t>: classification of official + unofficial Instagram brand profile images into given brand personality attributes, brand image profile analysis</a:t>
            </a:r>
            <a:endParaRPr lang="en-US" sz="1200" smtClean="0">
              <a:latin typeface="Source Sans Pro Light" charset="0"/>
              <a:cs typeface="Source Sans Pro Light" charset="0"/>
            </a:endParaRPr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74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364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one vs rest approach of multiclass classification, we need to create 4 classifiers one for each attribute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761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mtClean="0"/>
              <a:t>Twitter vs. Pinterest</a:t>
            </a:r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mtClean="0"/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mtClean="0"/>
              <a:t>12 attributes (calm, cheerful, confident, creative, exciting, fiery, happy, intelligent, natural, reliable, strong, wholesome) </a:t>
            </a:r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This is the reason why **we can only have brands that are listed in this dataframe** and **no other brands**.</a:t>
            </a:r>
            <a:endParaRPr lang="de-CH" smtClean="0"/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respecting user’s rights when downloading copyrighted content - not using images/videos from Instagram for commercial intent</a:t>
            </a:r>
            <a:endParaRPr lang="de-CH" smtClean="0"/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google app engine it does not give me any errors but when you click on the link it times out and returns a '502 bad gateway' error</a:t>
            </a:r>
            <a:endParaRPr lang="de-CH" smtClean="0"/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mtClean="0"/>
              <a:t>prefixed time horizon with tentative considersations about </a:t>
            </a:r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mtClean="0"/>
              <a:t>multimedia document embedding – </a:t>
            </a:r>
          </a:p>
          <a:p>
            <a:r>
              <a:rPr lang="de-CH" smtClean="0"/>
              <a:t>adding images requires databank setup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5396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42774914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009B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NeutrafaceText-Light"/>
                <a:cs typeface="NeutrafaceText-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89900228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gin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00009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latin typeface="Source Sans Pro Semibold" charset="0"/>
              <a:cs typeface="+mn-cs"/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7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chemeClr val="bg1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/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35825" y="5330825"/>
            <a:ext cx="2686050" cy="9064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pic>
        <p:nvPicPr>
          <p:cNvPr id="9" name="Picture 44" descr="http://t1.gstatic.com/images?q=tbn:ANd9GcS-TCeP5_rbsrXyYxOdmc8tOnvTPIwWfU9obyUwEns1dWEluKflAQ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75" y="5432425"/>
            <a:ext cx="21780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ontent Placeholder 1"/>
          <p:cNvSpPr>
            <a:spLocks noGrp="1"/>
          </p:cNvSpPr>
          <p:nvPr>
            <p:ph idx="1"/>
          </p:nvPr>
        </p:nvSpPr>
        <p:spPr>
          <a:xfrm>
            <a:off x="619125" y="3049364"/>
            <a:ext cx="8648402" cy="2286000"/>
          </a:xfrm>
          <a:prstGeom prst="rect">
            <a:avLst/>
          </a:prstGeom>
          <a:solidFill>
            <a:srgbClr val="00009B"/>
          </a:solidFill>
        </p:spPr>
        <p:txBody>
          <a:bodyPr/>
          <a:lstStyle>
            <a:lvl1pPr>
              <a:defRPr>
                <a:solidFill>
                  <a:srgbClr val="FFFFFF"/>
                </a:solidFill>
                <a:latin typeface="Source Sans Pro Semibold"/>
                <a:cs typeface="Source Sans Pro Semibold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906000" cy="25920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619125" y="2408189"/>
            <a:ext cx="8648402" cy="660772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74925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gin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00009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latin typeface="Source Sans Pro Semibold" charset="0"/>
              <a:cs typeface="+mn-cs"/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21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chemeClr val="bg1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/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35825" y="5330825"/>
            <a:ext cx="2686050" cy="9064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pic>
        <p:nvPicPr>
          <p:cNvPr id="9" name="Picture 44" descr="http://t1.gstatic.com/images?q=tbn:ANd9GcS-TCeP5_rbsrXyYxOdmc8tOnvTPIwWfU9obyUwEns1dWEluKflAQ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75" y="5432425"/>
            <a:ext cx="21780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ontent Placeholder 1"/>
          <p:cNvSpPr>
            <a:spLocks noGrp="1"/>
          </p:cNvSpPr>
          <p:nvPr>
            <p:ph idx="1"/>
          </p:nvPr>
        </p:nvSpPr>
        <p:spPr>
          <a:xfrm>
            <a:off x="619125" y="3049364"/>
            <a:ext cx="8648402" cy="2286000"/>
          </a:xfrm>
          <a:prstGeom prst="rect">
            <a:avLst/>
          </a:prstGeom>
          <a:solidFill>
            <a:srgbClr val="00009B"/>
          </a:solidFill>
        </p:spPr>
        <p:txBody>
          <a:bodyPr/>
          <a:lstStyle>
            <a:lvl1pPr>
              <a:defRPr baseline="0">
                <a:solidFill>
                  <a:srgbClr val="FFFFFF"/>
                </a:solidFill>
                <a:latin typeface="Source Sans Pro Semibold"/>
                <a:cs typeface="Source Sans Pro Semibold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  <a:p>
            <a:pPr lvl="1"/>
            <a:r>
              <a:rPr lang="fr-CH"/>
              <a:t>Secondo livello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906000" cy="25920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619125" y="2408189"/>
            <a:ext cx="8648402" cy="660772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59164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9" descr="Rplo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5325" y="1484313"/>
            <a:ext cx="5543550" cy="359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009B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NeutrafaceText-Light"/>
                <a:cs typeface="NeutrafaceText-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5" name="Segnaposto contenuto 4"/>
          <p:cNvSpPr>
            <a:spLocks noGrp="1"/>
          </p:cNvSpPr>
          <p:nvPr>
            <p:ph sz="quarter" idx="13"/>
          </p:nvPr>
        </p:nvSpPr>
        <p:spPr>
          <a:xfrm>
            <a:off x="631825" y="1484313"/>
            <a:ext cx="8569647" cy="4320951"/>
          </a:xfrm>
          <a:prstGeom prst="rect">
            <a:avLst/>
          </a:prstGeom>
        </p:spPr>
        <p:txBody>
          <a:bodyPr vert="horz"/>
          <a:lstStyle>
            <a:lvl1pPr>
              <a:defRPr b="0" baseline="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  <a:p>
            <a:pPr lvl="1"/>
            <a:r>
              <a:rPr lang="fr-CH"/>
              <a:t>Secondo livello</a:t>
            </a:r>
          </a:p>
          <a:p>
            <a:pPr lvl="2"/>
            <a:r>
              <a:rPr lang="fr-CH"/>
              <a:t>Terzo livello</a:t>
            </a:r>
          </a:p>
          <a:p>
            <a:pPr lvl="3"/>
            <a:r>
              <a:rPr lang="fr-CH"/>
              <a:t>Quarto livello</a:t>
            </a:r>
          </a:p>
          <a:p>
            <a:pPr lvl="4"/>
            <a:r>
              <a:rPr lang="fr-CH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7952011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="0" baseline="0">
                <a:latin typeface="Source Sans Pro Bold"/>
                <a:cs typeface="Source Sans Pro Bold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69775346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>
                <a:sym typeface="Monotype Sorts"/>
              </a:rPr>
              <a:t>Fare clic per modificare gli stili del testo dello schema</a:t>
            </a:r>
          </a:p>
          <a:p>
            <a:pPr lvl="1"/>
            <a:r>
              <a:rPr lang="fr-CH">
                <a:sym typeface="Monotype Sorts"/>
              </a:rPr>
              <a:t>Secondo livello</a:t>
            </a:r>
          </a:p>
          <a:p>
            <a:pPr lvl="2"/>
            <a:r>
              <a:rPr lang="fr-CH">
                <a:sym typeface="Monotype Sorts"/>
              </a:rPr>
              <a:t>Terzo livello</a:t>
            </a:r>
          </a:p>
          <a:p>
            <a:pPr lvl="3"/>
            <a:r>
              <a:rPr lang="fr-CH">
                <a:sym typeface="Monotype Sorts"/>
              </a:rPr>
              <a:t>Quarto livello</a:t>
            </a:r>
          </a:p>
          <a:p>
            <a:pPr lvl="4"/>
            <a:r>
              <a:rPr lang="fr-CH">
                <a:sym typeface="Monotype Sorts"/>
              </a:rPr>
              <a:t>Quinto livel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60474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7405124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9322957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75725707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6340121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8139326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 txBox="1">
            <a:spLocks/>
          </p:cNvSpPr>
          <p:nvPr/>
        </p:nvSpPr>
        <p:spPr>
          <a:xfrm>
            <a:off x="8769350" y="333375"/>
            <a:ext cx="1152525" cy="546100"/>
          </a:xfrm>
          <a:prstGeom prst="rect">
            <a:avLst/>
          </a:prstGeom>
        </p:spPr>
        <p:txBody>
          <a:bodyPr wrap="none" lIns="91429" tIns="45715" rIns="91429" bIns="45715"/>
          <a:lstStyle>
            <a:lvl1pPr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1pPr>
            <a:lvl2pPr marL="742950" indent="-28575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2pPr>
            <a:lvl3pPr marL="11430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3pPr>
            <a:lvl4pPr marL="16002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4pPr>
            <a:lvl5pPr marL="20574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9pPr>
          </a:lstStyle>
          <a:p>
            <a:pPr algn="r" eaLnBrk="1" hangingPunct="1"/>
            <a:fld id="{7D6738CC-8B73-D841-8D57-8FE6EF68B95D}" type="slidenum">
              <a:rPr lang="en-US" sz="2800" b="1">
                <a:solidFill>
                  <a:srgbClr val="E6E6E6"/>
                </a:solidFill>
                <a:latin typeface="Neutraface Text Bold" charset="0"/>
              </a:rPr>
              <a:pPr algn="r" eaLnBrk="1" hangingPunct="1"/>
              <a:t>‹#›</a:t>
            </a:fld>
            <a:endParaRPr lang="en-US" sz="2800" b="1">
              <a:solidFill>
                <a:srgbClr val="E6E6E6"/>
              </a:solidFill>
              <a:latin typeface="Neutraface Text Bold" charset="0"/>
            </a:endParaRPr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rgbClr val="000000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>
              <a:latin typeface="NeutrafaceText-Light"/>
              <a:cs typeface="NeutrafaceText-Light"/>
            </a:endParaRPr>
          </a:p>
        </p:txBody>
      </p:sp>
      <p:sp>
        <p:nvSpPr>
          <p:cNvPr id="5124" name="Rectangle 14"/>
          <p:cNvSpPr>
            <a:spLocks noChangeArrowheads="1"/>
          </p:cNvSpPr>
          <p:nvPr/>
        </p:nvSpPr>
        <p:spPr bwMode="auto">
          <a:xfrm>
            <a:off x="0" y="0"/>
            <a:ext cx="257175" cy="1196975"/>
          </a:xfrm>
          <a:prstGeom prst="rect">
            <a:avLst/>
          </a:prstGeom>
          <a:solidFill>
            <a:srgbClr val="00009B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9" tIns="45715" rIns="91429" bIns="45715"/>
          <a:lstStyle>
            <a:lvl1pPr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8466138" y="0"/>
            <a:ext cx="1439862" cy="441325"/>
          </a:xfrm>
          <a:prstGeom prst="rect">
            <a:avLst/>
          </a:prstGeom>
          <a:solidFill>
            <a:srgbClr val="E6E6E6"/>
          </a:solidFill>
        </p:spPr>
        <p:txBody>
          <a:bodyPr anchor="ctr"/>
          <a:lstStyle>
            <a:lvl1pPr marL="0" marR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tabLst>
                <a:tab pos="444450" algn="l"/>
              </a:tabLst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17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57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57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marR="0" indent="-228574" algn="l" defTabSz="914296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tabLst/>
              <a:defRPr sz="1800" b="0" i="0" baseline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r">
              <a:defRPr/>
            </a:pPr>
            <a:endParaRPr lang="en-US" sz="1600">
              <a:solidFill>
                <a:schemeClr val="bg1">
                  <a:lumMod val="75000"/>
                </a:schemeClr>
              </a:solidFill>
              <a:latin typeface="NeutrafaceText-DemiAlt"/>
              <a:cs typeface="NeutrafaceText-DemiAlt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342900" y="366713"/>
            <a:ext cx="8027988" cy="571500"/>
          </a:xfrm>
          <a:prstGeom prst="rect">
            <a:avLst/>
          </a:prstGeom>
        </p:spPr>
        <p:txBody>
          <a:bodyPr/>
          <a:lstStyle>
            <a:lvl1pPr marL="41271" indent="-41271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rgbClr val="00009B"/>
                </a:solidFill>
                <a:latin typeface="NeutrafaceText-DemiAlt"/>
                <a:ea typeface="+mj-ea"/>
                <a:cs typeface="NeutrafaceText-DemiAlt"/>
                <a:sym typeface="Neutraface Text Book" charset="0"/>
              </a:defRPr>
            </a:lvl1pPr>
            <a:lvl2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2pPr>
            <a:lvl3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3pPr>
            <a:lvl4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4pPr>
            <a:lvl5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5pPr>
            <a:lvl6pPr marL="378827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6pPr>
            <a:lvl7pPr marL="715563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7pPr>
            <a:lvl8pPr marL="1052298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8pPr>
            <a:lvl9pPr marL="1389033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9pPr>
          </a:lstStyle>
          <a:p>
            <a:pPr>
              <a:defRPr/>
            </a:pPr>
            <a:endParaRPr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619125" y="1555750"/>
            <a:ext cx="8667750" cy="4384675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59959" marR="0" indent="-359959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355559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1pPr>
            <a:lvl2pPr marL="726992" indent="-358734" algn="l" defTabSz="723818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2pPr>
            <a:lvl3pPr marL="1082552" indent="-35873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3pPr>
            <a:lvl4pPr marL="1438111" indent="-35873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4pPr>
            <a:lvl5pPr marL="1793671" marR="0" indent="-358734" algn="l" defTabSz="914296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 sz="1800" b="0" i="0" baseline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5pPr>
            <a:lvl6pPr marL="336736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marL="0" indent="0">
              <a:buFont typeface="+mj-lt"/>
              <a:buNone/>
              <a:defRPr/>
            </a:pPr>
            <a:endParaRPr lang="en-US" sz="4000"/>
          </a:p>
        </p:txBody>
      </p:sp>
      <p:sp>
        <p:nvSpPr>
          <p:cNvPr id="5128" name="CasellaDiTesto 2"/>
          <p:cNvSpPr txBox="1">
            <a:spLocks noChangeArrowheads="1"/>
          </p:cNvSpPr>
          <p:nvPr/>
        </p:nvSpPr>
        <p:spPr bwMode="auto">
          <a:xfrm>
            <a:off x="1703388" y="782638"/>
            <a:ext cx="1857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it-IT" altLang="de-DE" sz="180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86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7" r:id="rId11"/>
    <p:sldLayoutId id="2147483988" r:id="rId12"/>
  </p:sldLayoutIdLst>
  <p:transition/>
  <p:hf hdr="0" ftr="0" dt="0"/>
  <p:txStyles>
    <p:titleStyle>
      <a:lvl1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/>
          <a:ea typeface="+mj-ea"/>
          <a:cs typeface="NeutrafaceText-DemiAlt"/>
          <a:sym typeface="Neutraface Text Book" charset="0"/>
        </a:defRPr>
      </a:lvl1pPr>
      <a:lvl2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2pPr>
      <a:lvl3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3pPr>
      <a:lvl4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4pPr>
      <a:lvl5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5pPr>
      <a:lvl6pPr marL="37882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6pPr>
      <a:lvl7pPr marL="715563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7pPr>
      <a:lvl8pPr marL="105229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8pPr>
      <a:lvl9pPr marL="1389033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9pPr>
    </p:titleStyle>
    <p:bodyStyle>
      <a:lvl1pPr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tabLst>
          <a:tab pos="442913" algn="l"/>
        </a:tabLst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1pPr>
      <a:lvl2pPr indent="-184150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2pPr>
      <a:lvl3pPr indent="-227013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3pPr>
      <a:lvl4pPr indent="-227013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4pPr>
      <a:lvl5pPr indent="-227013" algn="l" defTabSz="912813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5pPr>
      <a:lvl6pPr marL="336736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6pPr>
      <a:lvl7pPr marL="673471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7pPr>
      <a:lvl8pPr marL="1010207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8pPr>
      <a:lvl9pPr marL="1346941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9pPr>
    </p:bodyStyle>
    <p:otherStyle>
      <a:defPPr>
        <a:defRPr lang="de-DE"/>
      </a:defPPr>
      <a:lvl1pPr marL="0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3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347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1020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94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367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2041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714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93882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image" Target="../media/image7.svg"/><Relationship Id="rId39" Type="http://schemas.openxmlformats.org/officeDocument/2006/relationships/image" Target="../media/image14.png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image" Target="../media/image15.svg"/><Relationship Id="rId42" Type="http://schemas.openxmlformats.org/officeDocument/2006/relationships/image" Target="../media/image17.png"/><Relationship Id="rId47" Type="http://schemas.openxmlformats.org/officeDocument/2006/relationships/image" Target="../media/image22.png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image" Target="../media/image5.png"/><Relationship Id="rId33" Type="http://schemas.openxmlformats.org/officeDocument/2006/relationships/image" Target="../media/image9.png"/><Relationship Id="rId38" Type="http://schemas.openxmlformats.org/officeDocument/2006/relationships/image" Target="../media/image13.png"/><Relationship Id="rId46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image" Target="../media/image7.png"/><Relationship Id="rId41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image" Target="../media/image5.svg"/><Relationship Id="rId32" Type="http://schemas.openxmlformats.org/officeDocument/2006/relationships/image" Target="../media/image13.svg"/><Relationship Id="rId37" Type="http://schemas.openxmlformats.org/officeDocument/2006/relationships/image" Target="../media/image12.png"/><Relationship Id="rId40" Type="http://schemas.openxmlformats.org/officeDocument/2006/relationships/image" Target="../media/image15.png"/><Relationship Id="rId45" Type="http://schemas.openxmlformats.org/officeDocument/2006/relationships/image" Target="../media/image20.png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image" Target="../media/image4.png"/><Relationship Id="rId28" Type="http://schemas.openxmlformats.org/officeDocument/2006/relationships/image" Target="../media/image9.svg"/><Relationship Id="rId36" Type="http://schemas.openxmlformats.org/officeDocument/2006/relationships/image" Target="../media/image11.png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image" Target="../media/image8.png"/><Relationship Id="rId44" Type="http://schemas.openxmlformats.org/officeDocument/2006/relationships/image" Target="../media/image19.png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openxmlformats.org/officeDocument/2006/relationships/image" Target="../media/image6.png"/><Relationship Id="rId30" Type="http://schemas.openxmlformats.org/officeDocument/2006/relationships/image" Target="../media/image11.svg"/><Relationship Id="rId35" Type="http://schemas.openxmlformats.org/officeDocument/2006/relationships/image" Target="../media/image10.png"/><Relationship Id="rId43" Type="http://schemas.openxmlformats.org/officeDocument/2006/relationships/image" Target="../media/image18.png"/><Relationship Id="rId48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svg"/><Relationship Id="rId5" Type="http://schemas.openxmlformats.org/officeDocument/2006/relationships/image" Target="../media/image26.png"/><Relationship Id="rId10" Type="http://schemas.openxmlformats.org/officeDocument/2006/relationships/image" Target="../media/image29.png"/><Relationship Id="rId4" Type="http://schemas.openxmlformats.org/officeDocument/2006/relationships/image" Target="../media/image17.svg"/><Relationship Id="rId9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comments" Target="../comments/commen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Inhaltsplatzhalter 1"/>
          <p:cNvSpPr>
            <a:spLocks noGrp="1"/>
          </p:cNvSpPr>
          <p:nvPr>
            <p:ph idx="1"/>
          </p:nvPr>
        </p:nvSpPr>
        <p:spPr bwMode="auto">
          <a:xfrm>
            <a:off x="619125" y="3140968"/>
            <a:ext cx="8648700" cy="1656184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Extracting Brand Image Portrayed on Social </a:t>
            </a:r>
            <a:r>
              <a:rPr lang="de-CH" smtClean="0">
                <a:latin typeface="Source Sans Pro Semibold" charset="0"/>
                <a:ea typeface="ヒラギノ角ゴ ProN W3" charset="0"/>
                <a:cs typeface="Source Sans Pro Semibold" charset="0"/>
              </a:rPr>
              <a:t>Media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en-US" i="1" smtClean="0">
                <a:latin typeface="Neutraface Text Book" charset="0"/>
                <a:ea typeface="ヒラギノ角ゴ ProN W3" charset="0"/>
                <a:cs typeface="Neutraface Text Book" charset="0"/>
              </a:rPr>
              <a:t>21 </a:t>
            </a:r>
            <a:r>
              <a:rPr lang="en-US" i="1">
                <a:latin typeface="Neutraface Text Book" charset="0"/>
                <a:ea typeface="ヒラギノ角ゴ ProN W3" charset="0"/>
                <a:cs typeface="Neutraface Text Book" charset="0"/>
              </a:rPr>
              <a:t>April </a:t>
            </a:r>
            <a:r>
              <a:rPr lang="en-US" i="1" smtClean="0">
                <a:latin typeface="Neutraface Text Book" charset="0"/>
                <a:ea typeface="ヒラギノ角ゴ ProN W3" charset="0"/>
                <a:cs typeface="Neutraface Text Book" charset="0"/>
              </a:rPr>
              <a:t>2020 - Zurich</a:t>
            </a:r>
            <a:endParaRPr lang="de-CH" i="1" smtClean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7171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0" y="6524625"/>
            <a:ext cx="9906000" cy="2603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de-DE" smtClean="0">
                <a:latin typeface="Source Sans Pro Semibold" charset="0"/>
                <a:ea typeface="ヒラギノ角ゴ ProN W3" charset="0"/>
                <a:cs typeface="Source Sans Pro Semibold" charset="0"/>
              </a:rPr>
              <a:t>						  </a:t>
            </a:r>
            <a:r>
              <a:rPr lang="de-DE" smtClean="0">
                <a:latin typeface="Neutraface Text Book" charset="0"/>
                <a:ea typeface="ヒラギノ角ゴ ProN W3" charset="0"/>
                <a:cs typeface="Neutraface Text Book" charset="0"/>
              </a:rPr>
              <a:t>Neeraj </a:t>
            </a:r>
            <a:r>
              <a:rPr lang="de-DE">
                <a:latin typeface="Neutraface Text Book" charset="0"/>
                <a:ea typeface="ヒラギノ角ゴ ProN W3" charset="0"/>
                <a:cs typeface="Neutraface Text Book" charset="0"/>
              </a:rPr>
              <a:t>Kumar | Linda Samsinger  | Theebana Rajendram | Vincent Rüegge</a:t>
            </a:r>
          </a:p>
        </p:txBody>
      </p:sp>
      <p:sp>
        <p:nvSpPr>
          <p:cNvPr id="7172" name="Titel 3"/>
          <p:cNvSpPr>
            <a:spLocks noGrp="1"/>
          </p:cNvSpPr>
          <p:nvPr>
            <p:ph type="title"/>
          </p:nvPr>
        </p:nvSpPr>
        <p:spPr bwMode="auto">
          <a:xfrm>
            <a:off x="524508" y="2018250"/>
            <a:ext cx="8648700" cy="1230729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CH" sz="7200">
                <a:latin typeface="Berlin Sans FB" panose="020E0602020502020306" pitchFamily="34" charset="0"/>
                <a:ea typeface="ヒラギノ角ゴ ProN W3" charset="0"/>
                <a:cs typeface="Arial" panose="020B0604020202020204" pitchFamily="34" charset="0"/>
              </a:rPr>
              <a:t>Visual </a:t>
            </a:r>
            <a:r>
              <a:rPr lang="de-CH" sz="7200" smtClean="0">
                <a:latin typeface="Berlin Sans FB" panose="020E0602020502020306" pitchFamily="34" charset="0"/>
                <a:ea typeface="ヒラギノ角ゴ ProN W3" charset="0"/>
                <a:cs typeface="Arial" panose="020B0604020202020204" pitchFamily="34" charset="0"/>
              </a:rPr>
              <a:t>Listening</a:t>
            </a:r>
            <a:endParaRPr lang="de-DE" sz="7200">
              <a:latin typeface="Berlin Sans FB" panose="020E0602020502020306" pitchFamily="34" charset="0"/>
              <a:ea typeface="ヒラギノ角ゴ ProN W3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 bwMode="auto">
          <a:xfrm>
            <a:off x="0" y="3645024"/>
            <a:ext cx="9906000" cy="0"/>
          </a:xfrm>
          <a:prstGeom prst="line">
            <a:avLst/>
          </a:prstGeom>
          <a:solidFill>
            <a:srgbClr val="BBE0E3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Agenda</a:t>
            </a:r>
            <a:endParaRPr lang="de-DE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8195" name="Inhaltsplatzhalter 2"/>
          <p:cNvSpPr>
            <a:spLocks noGrp="1"/>
          </p:cNvSpPr>
          <p:nvPr>
            <p:ph idx="1"/>
          </p:nvPr>
        </p:nvSpPr>
        <p:spPr>
          <a:xfrm>
            <a:off x="619125" y="1555750"/>
            <a:ext cx="8667750" cy="438467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Introduction</a:t>
            </a: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en-US" noProof="1" smtClean="0">
                <a:latin typeface="Source Sans Pro Light" charset="0"/>
                <a:ea typeface="ヒラギノ角ゴ ProN W3" charset="0"/>
                <a:cs typeface="Source Sans Pro Light" charset="0"/>
              </a:rPr>
              <a:t>Benefits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of 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a Brand Management Web Tool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for 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Marketing Personnel </a:t>
            </a: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Design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of the Deep Learning 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Model Architecture</a:t>
            </a: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From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Image Data to Model Deployment on 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a Web 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Application</a:t>
            </a: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Problems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and Improvements</a:t>
            </a:r>
          </a:p>
          <a:p>
            <a:pPr marL="0" indent="0">
              <a:buNone/>
              <a:tabLst>
                <a:tab pos="354013" algn="l"/>
              </a:tabLst>
            </a:pP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sp>
        <p:nvSpPr>
          <p:cNvPr id="8197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660740"/>
            <a:ext cx="9903070" cy="224644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</a:t>
            </a:r>
            <a:r>
              <a:rPr lang="de-DE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Listening</a:t>
            </a:r>
            <a:endParaRPr lang="de-DE" b="1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noProof="1" smtClean="0">
                <a:latin typeface="Source Sans Pro Semibold" charset="0"/>
                <a:ea typeface="ヒラギノ角ゴ ProN W3" charset="0"/>
                <a:cs typeface="Source Sans Pro Semibold" charset="0"/>
              </a:rPr>
              <a:t>Introduction</a:t>
            </a:r>
            <a:endParaRPr lang="de-CH" noProof="1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11267" name="Inhaltsplatzhalter 2"/>
          <p:cNvSpPr>
            <a:spLocks noGrp="1"/>
          </p:cNvSpPr>
          <p:nvPr>
            <p:ph idx="1"/>
          </p:nvPr>
        </p:nvSpPr>
        <p:spPr>
          <a:xfrm>
            <a:off x="619124" y="1016733"/>
            <a:ext cx="9014396" cy="529258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smtClean="0">
                <a:latin typeface="Source Sans Pro Light" charset="0"/>
                <a:ea typeface="ヒラギノ角ゴ ProN W3" charset="0"/>
                <a:cs typeface="Source Sans Pro Light" charset="0"/>
              </a:rPr>
              <a:t>Task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: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Design an AI-powered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Web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App to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analyze brand images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as portrayed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on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social media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: </a:t>
            </a:r>
            <a:r>
              <a:rPr lang="en-US" smtClean="0">
                <a:latin typeface="Source Sans Pro Light" charset="0"/>
                <a:cs typeface="Source Sans Pro Light" charset="0"/>
              </a:rPr>
              <a:t>Flickr (training image-to-label), Instagram (testing label-to-image)</a:t>
            </a:r>
            <a:endParaRPr lang="en-US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smtClean="0">
                <a:latin typeface="Source Sans Pro Light" charset="0"/>
                <a:ea typeface="ヒラギノ角ゴ ProN W3" charset="0"/>
                <a:cs typeface="Source Sans Pro Light" charset="0"/>
              </a:rPr>
              <a:t>Approach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: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Develop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a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deep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l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earning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m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odel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to classify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web 2.0-sourced images based on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predefined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brand personality attributes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and deploy the model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on a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Web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App.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smtClean="0">
                <a:latin typeface="Source Sans Pro Light" charset="0"/>
                <a:ea typeface="ヒラギノ角ゴ ProN W3" charset="0"/>
                <a:cs typeface="Source Sans Pro Light" charset="0"/>
              </a:rPr>
              <a:t>Web App: </a:t>
            </a:r>
            <a:r>
              <a:rPr lang="de-CH">
                <a:latin typeface="Source Sans Pro Light" charset="0"/>
                <a:cs typeface="Source Sans Pro Light" charset="0"/>
              </a:rPr>
              <a:t>classification of official + unofficial Instagram brand profile images </a:t>
            </a:r>
            <a:r>
              <a:rPr lang="de-CH">
                <a:latin typeface="Source Sans Pro Light" charset="0"/>
                <a:cs typeface="Source Sans Pro Light" charset="0"/>
              </a:rPr>
              <a:t>into </a:t>
            </a:r>
            <a:r>
              <a:rPr lang="de-CH" smtClean="0">
                <a:latin typeface="Source Sans Pro Light" charset="0"/>
                <a:cs typeface="Source Sans Pro Light" charset="0"/>
              </a:rPr>
              <a:t>4-12 given </a:t>
            </a:r>
            <a:r>
              <a:rPr lang="de-CH">
                <a:latin typeface="Source Sans Pro Light" charset="0"/>
                <a:cs typeface="Source Sans Pro Light" charset="0"/>
              </a:rPr>
              <a:t>brand </a:t>
            </a:r>
            <a:r>
              <a:rPr lang="de-CH">
                <a:latin typeface="Source Sans Pro Light" charset="0"/>
                <a:cs typeface="Source Sans Pro Light" charset="0"/>
              </a:rPr>
              <a:t>personality </a:t>
            </a:r>
            <a:r>
              <a:rPr lang="de-CH" smtClean="0">
                <a:latin typeface="Source Sans Pro Light" charset="0"/>
                <a:cs typeface="Source Sans Pro Light" charset="0"/>
              </a:rPr>
              <a:t>attributes for statistical </a:t>
            </a:r>
            <a:r>
              <a:rPr lang="de-CH">
                <a:latin typeface="Source Sans Pro Light" charset="0"/>
                <a:cs typeface="Source Sans Pro Light" charset="0"/>
              </a:rPr>
              <a:t>brand image profile analysis</a:t>
            </a:r>
            <a:endParaRPr lang="en-US">
              <a:latin typeface="Source Sans Pro Light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endParaRPr lang="en-US" b="1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endParaRPr lang="en-US" b="1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graphicFrame>
        <p:nvGraphicFramePr>
          <p:cNvPr id="13" name="Inhaltsplatzhalter 1">
            <a:extLst>
              <a:ext uri="{FF2B5EF4-FFF2-40B4-BE49-F238E27FC236}">
                <a16:creationId xmlns:a16="http://schemas.microsoft.com/office/drawing/2014/main" id="{67E4525E-CAF9-42CF-889E-5CCD075863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4120325"/>
              </p:ext>
            </p:extLst>
          </p:nvPr>
        </p:nvGraphicFramePr>
        <p:xfrm>
          <a:off x="619125" y="4239387"/>
          <a:ext cx="2173635" cy="1673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4" name="Inhaltsplatzhalter 1">
            <a:extLst>
              <a:ext uri="{FF2B5EF4-FFF2-40B4-BE49-F238E27FC236}">
                <a16:creationId xmlns:a16="http://schemas.microsoft.com/office/drawing/2014/main" id="{8539A56D-7A8E-40A2-BE2C-577547F816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5516201"/>
              </p:ext>
            </p:extLst>
          </p:nvPr>
        </p:nvGraphicFramePr>
        <p:xfrm>
          <a:off x="7099443" y="4239387"/>
          <a:ext cx="2173635" cy="16111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5" name="Inhaltsplatzhalter 1">
            <a:extLst>
              <a:ext uri="{FF2B5EF4-FFF2-40B4-BE49-F238E27FC236}">
                <a16:creationId xmlns:a16="http://schemas.microsoft.com/office/drawing/2014/main" id="{8C17DF7A-7CC6-4C43-8B9F-0FFCCB5447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4475505"/>
              </p:ext>
            </p:extLst>
          </p:nvPr>
        </p:nvGraphicFramePr>
        <p:xfrm>
          <a:off x="3859284" y="4208296"/>
          <a:ext cx="2173635" cy="973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8" name="Inhaltsplatzhalter 1">
            <a:extLst>
              <a:ext uri="{FF2B5EF4-FFF2-40B4-BE49-F238E27FC236}">
                <a16:creationId xmlns:a16="http://schemas.microsoft.com/office/drawing/2014/main" id="{50FC43FD-6FCD-44FF-967A-9C8A564617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8219352"/>
              </p:ext>
            </p:extLst>
          </p:nvPr>
        </p:nvGraphicFramePr>
        <p:xfrm>
          <a:off x="3866182" y="5416933"/>
          <a:ext cx="2173635" cy="973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pic>
        <p:nvPicPr>
          <p:cNvPr id="21" name="Grafik 20" descr="Zurück RNL">
            <a:extLst>
              <a:ext uri="{FF2B5EF4-FFF2-40B4-BE49-F238E27FC236}">
                <a16:creationId xmlns:a16="http://schemas.microsoft.com/office/drawing/2014/main" id="{1235F239-8337-4F0A-AF87-A2DB5562EF4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=""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rot="21087087">
            <a:off x="2897324" y="4371541"/>
            <a:ext cx="720000" cy="720000"/>
          </a:xfrm>
          <a:prstGeom prst="rect">
            <a:avLst/>
          </a:prstGeom>
        </p:spPr>
      </p:pic>
      <p:pic>
        <p:nvPicPr>
          <p:cNvPr id="30" name="Grafik 29" descr="Zurück RNL">
            <a:extLst>
              <a:ext uri="{FF2B5EF4-FFF2-40B4-BE49-F238E27FC236}">
                <a16:creationId xmlns:a16="http://schemas.microsoft.com/office/drawing/2014/main" id="{AD27084D-8696-4F1E-8939-12CC604DA47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=""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rot="3292379">
            <a:off x="6319537" y="4331618"/>
            <a:ext cx="720000" cy="720000"/>
          </a:xfrm>
          <a:prstGeom prst="rect">
            <a:avLst/>
          </a:prstGeom>
        </p:spPr>
      </p:pic>
      <p:pic>
        <p:nvPicPr>
          <p:cNvPr id="31" name="Grafik 30" descr="Lupe">
            <a:extLst>
              <a:ext uri="{FF2B5EF4-FFF2-40B4-BE49-F238E27FC236}">
                <a16:creationId xmlns:a16="http://schemas.microsoft.com/office/drawing/2014/main" id="{4FF9548A-CF48-43F3-A99C-68923567E03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=""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355959" y="4951297"/>
            <a:ext cx="720000" cy="720000"/>
          </a:xfrm>
          <a:prstGeom prst="rect">
            <a:avLst/>
          </a:prstGeom>
        </p:spPr>
      </p:pic>
      <p:pic>
        <p:nvPicPr>
          <p:cNvPr id="32" name="Grafik 31" descr="Balkendiagramm">
            <a:extLst>
              <a:ext uri="{FF2B5EF4-FFF2-40B4-BE49-F238E27FC236}">
                <a16:creationId xmlns:a16="http://schemas.microsoft.com/office/drawing/2014/main" id="{FE34B65D-35C3-4506-A1DA-BD840CE415E0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=""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826260" y="4901254"/>
            <a:ext cx="720000" cy="720000"/>
          </a:xfrm>
          <a:prstGeom prst="rect">
            <a:avLst/>
          </a:prstGeom>
        </p:spPr>
      </p:pic>
      <p:pic>
        <p:nvPicPr>
          <p:cNvPr id="35" name="Grafik 34" descr="Internet">
            <a:extLst>
              <a:ext uri="{FF2B5EF4-FFF2-40B4-BE49-F238E27FC236}">
                <a16:creationId xmlns:a16="http://schemas.microsoft.com/office/drawing/2014/main" id="{E1D98BE6-BB07-40A2-9BF3-3B387461D79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=""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4586101" y="4421738"/>
            <a:ext cx="720000" cy="720000"/>
          </a:xfrm>
          <a:prstGeom prst="rect">
            <a:avLst/>
          </a:prstGeom>
        </p:spPr>
      </p:pic>
      <p:pic>
        <p:nvPicPr>
          <p:cNvPr id="36" name="Grafik 35" descr="Gehirn im Kopf">
            <a:extLst>
              <a:ext uri="{FF2B5EF4-FFF2-40B4-BE49-F238E27FC236}">
                <a16:creationId xmlns:a16="http://schemas.microsoft.com/office/drawing/2014/main" id="{9BBC5126-35AB-431F-8DEA-61557D201FD0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=""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4682999" y="5771033"/>
            <a:ext cx="540000" cy="540000"/>
          </a:xfrm>
          <a:prstGeom prst="rect">
            <a:avLst/>
          </a:prstGeom>
        </p:spPr>
      </p:pic>
      <p:sp>
        <p:nvSpPr>
          <p:cNvPr id="37" name="Sprechblase: rechteckig mit abgerundeten Ecken 36">
            <a:extLst>
              <a:ext uri="{FF2B5EF4-FFF2-40B4-BE49-F238E27FC236}">
                <a16:creationId xmlns:a16="http://schemas.microsoft.com/office/drawing/2014/main" id="{C7978CCC-B0F8-4DFE-B757-D4A28B982001}"/>
              </a:ext>
            </a:extLst>
          </p:cNvPr>
          <p:cNvSpPr/>
          <p:nvPr/>
        </p:nvSpPr>
        <p:spPr bwMode="auto">
          <a:xfrm>
            <a:off x="176782" y="5896552"/>
            <a:ext cx="2557091" cy="513579"/>
          </a:xfrm>
          <a:prstGeom prst="wedgeRoundRectCallout">
            <a:avLst>
              <a:gd name="adj1" fmla="val -4092"/>
              <a:gd name="adj2" fmla="val -84778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CH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Social Media </a:t>
            </a:r>
            <a:r>
              <a:rPr kumimoji="0" lang="de-CH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Brand URL</a:t>
            </a:r>
            <a:endParaRPr kumimoji="0" lang="de-CH" sz="1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/>
              <a:t>Brand </a:t>
            </a:r>
            <a:r>
              <a:rPr lang="de-CH" sz="1200" smtClean="0"/>
              <a:t>name: official + unofficial</a:t>
            </a:r>
            <a:endParaRPr kumimoji="0" lang="de-CH" sz="1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38" name="Sprechblase: rechteckig mit abgerundeten Ecken 37">
            <a:extLst>
              <a:ext uri="{FF2B5EF4-FFF2-40B4-BE49-F238E27FC236}">
                <a16:creationId xmlns:a16="http://schemas.microsoft.com/office/drawing/2014/main" id="{0386E3AD-425A-4D6C-BDB8-C2DF4F4A4E85}"/>
              </a:ext>
            </a:extLst>
          </p:cNvPr>
          <p:cNvSpPr/>
          <p:nvPr/>
        </p:nvSpPr>
        <p:spPr bwMode="auto">
          <a:xfrm>
            <a:off x="5569881" y="5058317"/>
            <a:ext cx="1405813" cy="280096"/>
          </a:xfrm>
          <a:prstGeom prst="wedgeRoundRectCallout">
            <a:avLst>
              <a:gd name="adj1" fmla="val -79324"/>
              <a:gd name="adj2" fmla="val -6592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Model Prediction</a:t>
            </a:r>
          </a:p>
        </p:txBody>
      </p:sp>
      <p:sp>
        <p:nvSpPr>
          <p:cNvPr id="39" name="Sprechblase: rechteckig mit abgerundeten Ecken 38">
            <a:extLst>
              <a:ext uri="{FF2B5EF4-FFF2-40B4-BE49-F238E27FC236}">
                <a16:creationId xmlns:a16="http://schemas.microsoft.com/office/drawing/2014/main" id="{67A61387-6880-4592-B1F1-9059BFFEBB2E}"/>
              </a:ext>
            </a:extLst>
          </p:cNvPr>
          <p:cNvSpPr/>
          <p:nvPr/>
        </p:nvSpPr>
        <p:spPr bwMode="auto">
          <a:xfrm>
            <a:off x="8114729" y="5850581"/>
            <a:ext cx="1627553" cy="696291"/>
          </a:xfrm>
          <a:prstGeom prst="wedgeRoundRectCallout">
            <a:avLst>
              <a:gd name="adj1" fmla="val 3536"/>
              <a:gd name="adj2" fmla="val -67053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Classification </a:t>
            </a:r>
            <a:r>
              <a:rPr kumimoji="0" lang="de-CH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of </a:t>
            </a:r>
            <a:r>
              <a:rPr kumimoji="0" lang="de-CH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one brand at</a:t>
            </a:r>
            <a:r>
              <a:rPr kumimoji="0" lang="de-CH" sz="1200" b="0" i="0" u="none" strike="noStrike" cap="none" normalizeH="0" smtClean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a time</a:t>
            </a:r>
            <a:r>
              <a:rPr kumimoji="0" lang="de-CH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into brand </a:t>
            </a:r>
            <a:r>
              <a:rPr kumimoji="0" lang="de-CH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attributes</a:t>
            </a:r>
          </a:p>
        </p:txBody>
      </p:sp>
      <p:pic>
        <p:nvPicPr>
          <p:cNvPr id="3" name="Grafik 2" descr="Übertragen">
            <a:extLst>
              <a:ext uri="{FF2B5EF4-FFF2-40B4-BE49-F238E27FC236}">
                <a16:creationId xmlns:a16="http://schemas.microsoft.com/office/drawing/2014/main" id="{E16066A5-10E3-4351-A3D8-AE2B131F06DE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=""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 rot="5400000">
            <a:off x="4830067" y="5090994"/>
            <a:ext cx="245866" cy="360000"/>
          </a:xfrm>
          <a:prstGeom prst="rect">
            <a:avLst/>
          </a:prstGeom>
        </p:spPr>
      </p:pic>
      <p:sp>
        <p:nvSpPr>
          <p:cNvPr id="22" name="Textplatzhalter 4"/>
          <p:cNvSpPr txBox="1">
            <a:spLocks/>
          </p:cNvSpPr>
          <p:nvPr/>
        </p:nvSpPr>
        <p:spPr bwMode="auto">
          <a:xfrm>
            <a:off x="2930" y="6660740"/>
            <a:ext cx="9903070" cy="224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kern="0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Listening</a:t>
            </a:r>
            <a:endParaRPr lang="de-DE" b="1" kern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7112971" y="3870068"/>
            <a:ext cx="439972" cy="43832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6"/>
          <a:srcRect l="23522" r="19857"/>
          <a:stretch/>
        </p:blipFill>
        <p:spPr>
          <a:xfrm>
            <a:off x="6158051" y="5426268"/>
            <a:ext cx="452621" cy="4492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3893075" y="3895883"/>
            <a:ext cx="525280" cy="29415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8"/>
          <a:srcRect l="19618" r="25150"/>
          <a:stretch/>
        </p:blipFill>
        <p:spPr>
          <a:xfrm>
            <a:off x="2514297" y="3896000"/>
            <a:ext cx="433852" cy="43988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511722" y="3908316"/>
            <a:ext cx="985466" cy="42234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800634" y="5756881"/>
            <a:ext cx="1007413" cy="42632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1"/>
          <a:srcRect t="14939" b="20945"/>
          <a:stretch/>
        </p:blipFill>
        <p:spPr>
          <a:xfrm>
            <a:off x="6975694" y="5825188"/>
            <a:ext cx="1113034" cy="40899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2970874" y="5405394"/>
            <a:ext cx="751134" cy="29292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3030813" y="6183206"/>
            <a:ext cx="745059" cy="30182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44"/>
          <a:srcRect t="34880" b="31101"/>
          <a:stretch/>
        </p:blipFill>
        <p:spPr>
          <a:xfrm>
            <a:off x="275695" y="3914771"/>
            <a:ext cx="1222499" cy="41588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2992984" y="3918599"/>
            <a:ext cx="740557" cy="36220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3004036" y="4961160"/>
            <a:ext cx="591468" cy="318929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4572396" y="3856876"/>
            <a:ext cx="918986" cy="34212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48"/>
          <a:srcRect l="21179" t="24460" r="27830" b="27014"/>
          <a:stretch/>
        </p:blipFill>
        <p:spPr>
          <a:xfrm>
            <a:off x="6117347" y="5924282"/>
            <a:ext cx="770607" cy="318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3366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9002588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marL="0" indent="0">
              <a:tabLst>
                <a:tab pos="354013" algn="l"/>
              </a:tabLst>
            </a:pPr>
            <a:r>
              <a:rPr lang="en-US" noProof="1">
                <a:latin typeface="Source Sans Pro Light" charset="0"/>
                <a:ea typeface="ヒラギノ角ゴ ProN W3" charset="0"/>
                <a:cs typeface="Source Sans Pro Light" charset="0"/>
              </a:rPr>
              <a:t>Benefits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 of a Brand Management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Web 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Tool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for Marketing Personnel </a:t>
            </a: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sp>
        <p:nvSpPr>
          <p:cNvPr id="10" name="Textplatzhalter 4"/>
          <p:cNvSpPr txBox="1">
            <a:spLocks/>
          </p:cNvSpPr>
          <p:nvPr/>
        </p:nvSpPr>
        <p:spPr bwMode="auto">
          <a:xfrm>
            <a:off x="2930" y="6660740"/>
            <a:ext cx="9903070" cy="224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kern="0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Listening</a:t>
            </a:r>
            <a:endParaRPr lang="de-DE" b="1" kern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89662" y="2217638"/>
            <a:ext cx="76401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u="dotted" smtClean="0">
                <a:latin typeface="Berlin Sans FB" panose="020E0602020502020306" pitchFamily="34" charset="0"/>
              </a:rPr>
              <a:t>San Pellegrino </a:t>
            </a:r>
          </a:p>
          <a:p>
            <a:r>
              <a:rPr lang="de-CH" sz="1800" smtClean="0">
                <a:latin typeface="Berlin Sans FB" panose="020E0602020502020306" pitchFamily="34" charset="0"/>
              </a:rPr>
              <a:t>Official portrayal is healthy 38% &amp; fun 42%.</a:t>
            </a:r>
          </a:p>
          <a:p>
            <a:r>
              <a:rPr lang="de-CH" sz="1800" smtClean="0">
                <a:latin typeface="Berlin Sans FB" panose="020E0602020502020306" pitchFamily="34" charset="0"/>
              </a:rPr>
              <a:t>Unofficial portrayal is fun only 52%. </a:t>
            </a:r>
            <a:endParaRPr lang="en-US" sz="1800">
              <a:latin typeface="Berlin Sans FB" panose="020E0602020502020306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530"/>
          <a:stretch/>
        </p:blipFill>
        <p:spPr>
          <a:xfrm>
            <a:off x="7942796" y="1285522"/>
            <a:ext cx="2033170" cy="5307067"/>
          </a:xfrm>
          <a:prstGeom prst="rect">
            <a:avLst/>
          </a:prstGeom>
        </p:spPr>
      </p:pic>
      <p:sp>
        <p:nvSpPr>
          <p:cNvPr id="13" name="Oval 12" descr="Kopf mit Zahnrädern"/>
          <p:cNvSpPr/>
          <p:nvPr/>
        </p:nvSpPr>
        <p:spPr>
          <a:xfrm>
            <a:off x="342900" y="1520788"/>
            <a:ext cx="1033591" cy="1033591"/>
          </a:xfrm>
          <a:prstGeom prst="ellipse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dgm="http://schemas.openxmlformats.org/drawingml/2006/diagram" xmlns:asvg="http://schemas.microsoft.com/office/drawing/2016/SVG/main" xmlns="" xmlns:lc="http://schemas.openxmlformats.org/drawingml/2006/lockedCanvas" r:embed="rId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Oval 13" descr="Nadel"/>
          <p:cNvSpPr/>
          <p:nvPr/>
        </p:nvSpPr>
        <p:spPr>
          <a:xfrm>
            <a:off x="374740" y="3002134"/>
            <a:ext cx="1033591" cy="1033591"/>
          </a:xfrm>
          <a:prstGeom prst="ellipse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dgm="http://schemas.openxmlformats.org/drawingml/2006/diagram" xmlns:asvg="http://schemas.microsoft.com/office/drawing/2016/SVG/main" xmlns="" xmlns:lc="http://schemas.openxmlformats.org/drawingml/2006/lockedCanvas" r:embed="rId6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Oval 14" descr="Glühbirne und Zahnrad"/>
          <p:cNvSpPr/>
          <p:nvPr/>
        </p:nvSpPr>
        <p:spPr>
          <a:xfrm>
            <a:off x="374739" y="4437112"/>
            <a:ext cx="1033591" cy="1033591"/>
          </a:xfrm>
          <a:prstGeom prst="ellipse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dgm="http://schemas.openxmlformats.org/drawingml/2006/diagram" xmlns:asvg="http://schemas.microsoft.com/office/drawing/2016/SVG/main" xmlns="" xmlns:lc="http://schemas.openxmlformats.org/drawingml/2006/lockedCanvas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1569920" y="1626514"/>
            <a:ext cx="6896217" cy="3751563"/>
          </a:xfrm>
        </p:spPr>
        <p:txBody>
          <a:bodyPr/>
          <a:lstStyle/>
          <a:p>
            <a:r>
              <a:rPr lang="de-CH" b="1" smtClean="0"/>
              <a:t> Consumer Insights </a:t>
            </a:r>
            <a:r>
              <a:rPr lang="de-CH" smtClean="0"/>
              <a:t>- Better </a:t>
            </a:r>
            <a:r>
              <a:rPr lang="de-CH"/>
              <a:t>understand consumer </a:t>
            </a:r>
            <a:r>
              <a:rPr lang="de-CH"/>
              <a:t>brand </a:t>
            </a:r>
            <a:r>
              <a:rPr lang="de-CH" smtClean="0"/>
              <a:t>perception</a:t>
            </a:r>
          </a:p>
          <a:p>
            <a:endParaRPr lang="de-CH" smtClean="0"/>
          </a:p>
          <a:p>
            <a:r>
              <a:rPr lang="de-CH" b="1" smtClean="0"/>
              <a:t> Benchmarking </a:t>
            </a:r>
            <a:r>
              <a:rPr lang="de-CH" smtClean="0"/>
              <a:t>- </a:t>
            </a:r>
            <a:r>
              <a:rPr lang="de-CH"/>
              <a:t>Brand </a:t>
            </a:r>
            <a:r>
              <a:rPr lang="de-CH"/>
              <a:t>positioning </a:t>
            </a:r>
            <a:r>
              <a:rPr lang="de-CH" smtClean="0"/>
              <a:t>and comparison with </a:t>
            </a:r>
            <a:r>
              <a:rPr lang="en-US" smtClean="0"/>
              <a:t>competitors</a:t>
            </a:r>
          </a:p>
          <a:p>
            <a:endParaRPr lang="de-CH" smtClean="0"/>
          </a:p>
          <a:p>
            <a:r>
              <a:rPr lang="de-CH" b="1" smtClean="0"/>
              <a:t> </a:t>
            </a:r>
            <a:r>
              <a:rPr lang="de-CH" b="1"/>
              <a:t>New </a:t>
            </a:r>
            <a:r>
              <a:rPr lang="de-CH" b="1" smtClean="0"/>
              <a:t>Opportunities </a:t>
            </a:r>
            <a:r>
              <a:rPr lang="de-CH" smtClean="0"/>
              <a:t>- Improve </a:t>
            </a:r>
            <a:r>
              <a:rPr lang="de-CH"/>
              <a:t>corporate brand image</a:t>
            </a:r>
          </a:p>
          <a:p>
            <a:endParaRPr lang="de-CH"/>
          </a:p>
          <a:p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4520952" y="3655854"/>
            <a:ext cx="76401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u="dotted" smtClean="0">
                <a:latin typeface="Berlin Sans FB" panose="020E0602020502020306" pitchFamily="34" charset="0"/>
              </a:rPr>
              <a:t>San Pellegrino vs. Evian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4421" y="751823"/>
            <a:ext cx="1589919" cy="46134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88983" y="4149159"/>
            <a:ext cx="639802" cy="45459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74617" y="4142559"/>
            <a:ext cx="1352258" cy="392381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1972768" y="5254320"/>
            <a:ext cx="62937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u="dotted" smtClean="0">
                <a:latin typeface="Berlin Sans FB" panose="020E0602020502020306" pitchFamily="34" charset="0"/>
              </a:rPr>
              <a:t>San Pellegrino</a:t>
            </a:r>
          </a:p>
          <a:p>
            <a:r>
              <a:rPr lang="de-CH" sz="1800" smtClean="0">
                <a:latin typeface="Berlin Sans FB" panose="020E0602020502020306" pitchFamily="34" charset="0"/>
              </a:rPr>
              <a:t>«Marketing department to revise its 5-year brand positioning plan to focus on strenghtening its brand’s health benefits in advertising and social media campaigns.»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928664" y="2494637"/>
            <a:ext cx="22682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smtClean="0">
                <a:latin typeface="Berlin Sans FB" panose="020E0602020502020306" pitchFamily="34" charset="0"/>
              </a:rPr>
              <a:t>sanpellegrino_official:</a:t>
            </a:r>
          </a:p>
          <a:p>
            <a:r>
              <a:rPr lang="de-CH" sz="1800" smtClean="0">
                <a:latin typeface="Berlin Sans FB" panose="020E0602020502020306" pitchFamily="34" charset="0"/>
              </a:rPr>
              <a:t>#sanpellegrino:</a:t>
            </a:r>
            <a:endParaRPr lang="en-US" sz="1800">
              <a:latin typeface="Berlin Sans FB" panose="020E06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787063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354516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marL="0" indent="0">
              <a:tabLst>
                <a:tab pos="354013" algn="l"/>
              </a:tabLst>
            </a:pP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Design of </a:t>
            </a:r>
            <a:r>
              <a:rPr lang="de-CH" err="1">
                <a:latin typeface="Source Sans Pro Light" charset="0"/>
                <a:ea typeface="ヒラギノ角ゴ ProN W3" charset="0"/>
                <a:cs typeface="Source Sans Pro Light" charset="0"/>
              </a:rPr>
              <a:t>the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err="1">
                <a:latin typeface="Source Sans Pro Light" charset="0"/>
                <a:ea typeface="ヒラギノ角ゴ ProN W3" charset="0"/>
                <a:cs typeface="Source Sans Pro Light" charset="0"/>
              </a:rPr>
              <a:t>Deep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 Learning Model Architecture</a:t>
            </a: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0329CD-DF4B-4D35-A790-3225B0E479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1325149"/>
            <a:ext cx="9086404" cy="505617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smtClean="0"/>
              <a:t>OneVsRest Multiclass </a:t>
            </a:r>
            <a:r>
              <a:rPr lang="de-CH" b="1"/>
              <a:t>Image Classification Problem</a:t>
            </a:r>
          </a:p>
          <a:p>
            <a:pPr marL="0" indent="0">
              <a:buNone/>
            </a:pPr>
            <a:r>
              <a:rPr lang="de-CH"/>
              <a:t>C</a:t>
            </a:r>
            <a:r>
              <a:rPr lang="de-CH"/>
              <a:t>lassified manually </a:t>
            </a:r>
            <a:r>
              <a:rPr lang="de-CH"/>
              <a:t>annotated </a:t>
            </a:r>
            <a:r>
              <a:rPr lang="de-CH" smtClean="0"/>
              <a:t>16.000 </a:t>
            </a:r>
            <a:r>
              <a:rPr lang="de-CH"/>
              <a:t>images </a:t>
            </a:r>
            <a:r>
              <a:rPr lang="de-CH" smtClean="0"/>
              <a:t>downloaded from Flickr using Linux-on-Windows </a:t>
            </a:r>
            <a:r>
              <a:rPr lang="de-CH" smtClean="0"/>
              <a:t>into one of </a:t>
            </a:r>
            <a:r>
              <a:rPr lang="de-CH"/>
              <a:t>the following 4 </a:t>
            </a:r>
            <a:r>
              <a:rPr lang="de-CH"/>
              <a:t>attributes </a:t>
            </a:r>
            <a:r>
              <a:rPr lang="de-CH" smtClean="0"/>
              <a:t>(+ their antonyms + UNK classes) taking </a:t>
            </a:r>
            <a:r>
              <a:rPr lang="de-CH"/>
              <a:t>the </a:t>
            </a:r>
            <a:r>
              <a:rPr lang="de-CH" smtClean="0"/>
              <a:t>argmax </a:t>
            </a:r>
            <a:r>
              <a:rPr lang="de-CH"/>
              <a:t>probability : </a:t>
            </a:r>
            <a:endParaRPr lang="de-CH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smtClean="0"/>
              <a:t>Transfer </a:t>
            </a:r>
            <a:r>
              <a:rPr lang="de-CH" b="1"/>
              <a:t>Learning Approach</a:t>
            </a:r>
          </a:p>
          <a:p>
            <a:pPr marL="0" indent="0">
              <a:buNone/>
            </a:pPr>
            <a:r>
              <a:rPr lang="de-CH" smtClean="0"/>
              <a:t>Used pre-trained «ResNet50» </a:t>
            </a:r>
            <a:r>
              <a:rPr lang="de-CH"/>
              <a:t>model </a:t>
            </a:r>
            <a:r>
              <a:rPr lang="de-CH" smtClean="0"/>
              <a:t>(CNN) with 500k parameters and added </a:t>
            </a:r>
            <a:r>
              <a:rPr lang="de-CH"/>
              <a:t>our own last fully </a:t>
            </a:r>
            <a:r>
              <a:rPr lang="de-CH" smtClean="0"/>
              <a:t>connected </a:t>
            </a:r>
            <a:r>
              <a:rPr lang="de-CH"/>
              <a:t>classifier lay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/>
              <a:t>Model Prediction</a:t>
            </a:r>
            <a:endParaRPr lang="de-CH"/>
          </a:p>
          <a:p>
            <a:pPr marL="0" indent="0">
              <a:buNone/>
            </a:pPr>
            <a:r>
              <a:rPr lang="de-CH" smtClean="0"/>
              <a:t>Predicted </a:t>
            </a:r>
            <a:r>
              <a:rPr lang="de-CH"/>
              <a:t>class label for brand images.</a:t>
            </a:r>
          </a:p>
          <a:p>
            <a:pPr marL="0" indent="0">
              <a:buNone/>
            </a:pPr>
            <a:r>
              <a:rPr lang="de-CH" smtClean="0"/>
              <a:t>Example</a:t>
            </a:r>
            <a:r>
              <a:rPr lang="de-CH"/>
              <a:t>: Brand «DAR-VIDA» </a:t>
            </a:r>
          </a:p>
        </p:txBody>
      </p:sp>
      <p:graphicFrame>
        <p:nvGraphicFramePr>
          <p:cNvPr id="2" name="Tabelle 4">
            <a:extLst>
              <a:ext uri="{FF2B5EF4-FFF2-40B4-BE49-F238E27FC236}">
                <a16:creationId xmlns:a16="http://schemas.microsoft.com/office/drawing/2014/main" id="{44C93209-B695-43BD-9134-3616C47102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7887144"/>
              </p:ext>
            </p:extLst>
          </p:nvPr>
        </p:nvGraphicFramePr>
        <p:xfrm>
          <a:off x="6828341" y="2849624"/>
          <a:ext cx="2275698" cy="1008112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137849">
                  <a:extLst>
                    <a:ext uri="{9D8B030D-6E8A-4147-A177-3AD203B41FA5}">
                      <a16:colId xmlns:a16="http://schemas.microsoft.com/office/drawing/2014/main" val="1206606293"/>
                    </a:ext>
                  </a:extLst>
                </a:gridCol>
                <a:gridCol w="1137849">
                  <a:extLst>
                    <a:ext uri="{9D8B030D-6E8A-4147-A177-3AD203B41FA5}">
                      <a16:colId xmlns:a16="http://schemas.microsoft.com/office/drawing/2014/main" val="1266153856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de-CH" b="1">
                          <a:solidFill>
                            <a:schemeClr val="accent4"/>
                          </a:solidFill>
                        </a:rPr>
                        <a:t>Fun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>
                          <a:solidFill>
                            <a:schemeClr val="accent4"/>
                          </a:solidFill>
                        </a:rPr>
                        <a:t>Healthy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654820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de-CH" b="1">
                          <a:solidFill>
                            <a:schemeClr val="accent4"/>
                          </a:solidFill>
                        </a:rPr>
                        <a:t>Glamorous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>
                          <a:solidFill>
                            <a:schemeClr val="accent4"/>
                          </a:solidFill>
                        </a:rPr>
                        <a:t>Rugged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31788"/>
                  </a:ext>
                </a:extLst>
              </a:tr>
            </a:tbl>
          </a:graphicData>
        </a:graphic>
      </p:graphicFrame>
      <p:sp>
        <p:nvSpPr>
          <p:cNvPr id="16" name="Pfeil: nach rechts 15">
            <a:extLst>
              <a:ext uri="{FF2B5EF4-FFF2-40B4-BE49-F238E27FC236}">
                <a16:creationId xmlns:a16="http://schemas.microsoft.com/office/drawing/2014/main" id="{22E9F72B-6F61-478E-89F9-462C59DEB2D2}"/>
              </a:ext>
            </a:extLst>
          </p:cNvPr>
          <p:cNvSpPr/>
          <p:nvPr/>
        </p:nvSpPr>
        <p:spPr bwMode="auto">
          <a:xfrm>
            <a:off x="6897216" y="5309125"/>
            <a:ext cx="648072" cy="422735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D782766D-637C-4136-AE12-0EE00C3260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1041985"/>
              </p:ext>
            </p:extLst>
          </p:nvPr>
        </p:nvGraphicFramePr>
        <p:xfrm>
          <a:off x="4664968" y="4491769"/>
          <a:ext cx="3004186" cy="1889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1" name="Diagramm 20">
            <a:extLst>
              <a:ext uri="{FF2B5EF4-FFF2-40B4-BE49-F238E27FC236}">
                <a16:creationId xmlns:a16="http://schemas.microsoft.com/office/drawing/2014/main" id="{DB5A43DE-8773-4BCB-AD4C-5B48052C81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6062807"/>
              </p:ext>
            </p:extLst>
          </p:nvPr>
        </p:nvGraphicFramePr>
        <p:xfrm>
          <a:off x="7365268" y="4487099"/>
          <a:ext cx="3004186" cy="1889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1" name="Textplatzhalter 4"/>
          <p:cNvSpPr txBox="1">
            <a:spLocks/>
          </p:cNvSpPr>
          <p:nvPr/>
        </p:nvSpPr>
        <p:spPr bwMode="auto">
          <a:xfrm>
            <a:off x="2930" y="6660740"/>
            <a:ext cx="9903070" cy="224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kern="0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Listening</a:t>
            </a:r>
            <a:endParaRPr lang="de-DE" b="1" kern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74910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123238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From Image Data to Model Deployment </a:t>
            </a:r>
            <a:r>
              <a:rPr lang="de-CH" smtClean="0">
                <a:latin typeface="Source Sans Pro Semibold" charset="0"/>
                <a:ea typeface="ヒラギノ角ゴ ProN W3" charset="0"/>
                <a:cs typeface="Source Sans Pro Semibold" charset="0"/>
              </a:rPr>
              <a:t>on a Web </a:t>
            </a:r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App</a:t>
            </a:r>
            <a:endParaRPr lang="de-DE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4F80C483-48AB-4EA8-AB0C-E7C62C20B48C}"/>
              </a:ext>
            </a:extLst>
          </p:cNvPr>
          <p:cNvSpPr/>
          <p:nvPr/>
        </p:nvSpPr>
        <p:spPr bwMode="auto">
          <a:xfrm>
            <a:off x="557638" y="1664804"/>
            <a:ext cx="1692188" cy="828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4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Labeled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>
                <a:latin typeface="+mn-lt"/>
                <a:ea typeface="Source Sans Pro Light" panose="020B0403030403020204" pitchFamily="34" charset="0"/>
              </a:rPr>
              <a:t>Flickr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>
                <a:latin typeface="+mn-lt"/>
                <a:ea typeface="Source Sans Pro Light" panose="020B0403030403020204" pitchFamily="34" charset="0"/>
              </a:rPr>
              <a:t>Images</a:t>
            </a:r>
            <a:endParaRPr kumimoji="0" lang="de-CH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3CFC015-3DB5-461B-AA43-A6F776ED542D}"/>
              </a:ext>
            </a:extLst>
          </p:cNvPr>
          <p:cNvSpPr/>
          <p:nvPr/>
        </p:nvSpPr>
        <p:spPr bwMode="auto">
          <a:xfrm>
            <a:off x="3128256" y="1664804"/>
            <a:ext cx="1836204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Data Preprocess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BD1C62B-0B7B-4F07-A5E9-A25489185591}"/>
              </a:ext>
            </a:extLst>
          </p:cNvPr>
          <p:cNvSpPr/>
          <p:nvPr/>
        </p:nvSpPr>
        <p:spPr bwMode="auto">
          <a:xfrm>
            <a:off x="3130731" y="2874181"/>
            <a:ext cx="1836204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Trai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F1F0B-5A93-479F-BB2A-97C878F9829B}"/>
              </a:ext>
            </a:extLst>
          </p:cNvPr>
          <p:cNvSpPr/>
          <p:nvPr/>
        </p:nvSpPr>
        <p:spPr bwMode="auto">
          <a:xfrm>
            <a:off x="4973862" y="2874181"/>
            <a:ext cx="951246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Validat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B110BCE-213D-4B42-9F9B-B88E8EA12A7B}"/>
              </a:ext>
            </a:extLst>
          </p:cNvPr>
          <p:cNvSpPr/>
          <p:nvPr/>
        </p:nvSpPr>
        <p:spPr bwMode="auto">
          <a:xfrm>
            <a:off x="6365759" y="2874181"/>
            <a:ext cx="846889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Tes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9659907-703D-4265-9BDE-E97178F6F96D}"/>
              </a:ext>
            </a:extLst>
          </p:cNvPr>
          <p:cNvSpPr/>
          <p:nvPr/>
        </p:nvSpPr>
        <p:spPr bwMode="auto">
          <a:xfrm>
            <a:off x="3128256" y="4071628"/>
            <a:ext cx="1836204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Label Classifier Model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BEE4FDB0-288D-4D91-9BFF-3658D8A96213}"/>
              </a:ext>
            </a:extLst>
          </p:cNvPr>
          <p:cNvSpPr/>
          <p:nvPr/>
        </p:nvSpPr>
        <p:spPr bwMode="auto">
          <a:xfrm>
            <a:off x="560512" y="4071628"/>
            <a:ext cx="1692188" cy="828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4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Unlabeled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>
                <a:latin typeface="+mn-lt"/>
                <a:ea typeface="Source Sans Pro Light" panose="020B0403030403020204" pitchFamily="34" charset="0"/>
              </a:rPr>
              <a:t>Instagram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>
                <a:latin typeface="+mn-lt"/>
                <a:ea typeface="Source Sans Pro Light" panose="020B0403030403020204" pitchFamily="34" charset="0"/>
              </a:rPr>
              <a:t>Images</a:t>
            </a:r>
            <a:endParaRPr kumimoji="0" lang="de-CH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7" name="Flussdiagramm: Grenzstelle 6">
            <a:extLst>
              <a:ext uri="{FF2B5EF4-FFF2-40B4-BE49-F238E27FC236}">
                <a16:creationId xmlns:a16="http://schemas.microsoft.com/office/drawing/2014/main" id="{24BFB8EF-596F-488A-904E-C38070F84557}"/>
              </a:ext>
            </a:extLst>
          </p:cNvPr>
          <p:cNvSpPr/>
          <p:nvPr/>
        </p:nvSpPr>
        <p:spPr bwMode="auto">
          <a:xfrm>
            <a:off x="6645188" y="5199755"/>
            <a:ext cx="1980220" cy="1001553"/>
          </a:xfrm>
          <a:prstGeom prst="flowChartTerminator">
            <a:avLst/>
          </a:prstGeom>
          <a:solidFill>
            <a:srgbClr val="B6DF89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Web Applicatio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D907F3D-84A5-4CBC-9909-71D9D0AB900E}"/>
              </a:ext>
            </a:extLst>
          </p:cNvPr>
          <p:cNvSpPr/>
          <p:nvPr/>
        </p:nvSpPr>
        <p:spPr bwMode="auto">
          <a:xfrm>
            <a:off x="3128256" y="5286485"/>
            <a:ext cx="1836204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Model Predictio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6995AD0-7079-439E-919F-2664BA069970}"/>
              </a:ext>
            </a:extLst>
          </p:cNvPr>
          <p:cNvSpPr/>
          <p:nvPr/>
        </p:nvSpPr>
        <p:spPr bwMode="auto">
          <a:xfrm>
            <a:off x="3008784" y="2786372"/>
            <a:ext cx="4320480" cy="1020231"/>
          </a:xfrm>
          <a:prstGeom prst="rect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B2C36A0-2120-41F6-AE2F-10711B490AA3}"/>
              </a:ext>
            </a:extLst>
          </p:cNvPr>
          <p:cNvCxnSpPr>
            <a:stCxn id="3" idx="6"/>
            <a:endCxn id="5" idx="1"/>
          </p:cNvCxnSpPr>
          <p:nvPr/>
        </p:nvCxnSpPr>
        <p:spPr bwMode="auto">
          <a:xfrm>
            <a:off x="2249826" y="2078850"/>
            <a:ext cx="878430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4D88891-4F9C-4FC3-9620-5D1920CBE889}"/>
              </a:ext>
            </a:extLst>
          </p:cNvPr>
          <p:cNvCxnSpPr/>
          <p:nvPr/>
        </p:nvCxnSpPr>
        <p:spPr bwMode="auto">
          <a:xfrm>
            <a:off x="2261286" y="4485674"/>
            <a:ext cx="866970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462AC879-1391-4F75-A3A7-BF367CAC4C76}"/>
              </a:ext>
            </a:extLst>
          </p:cNvPr>
          <p:cNvCxnSpPr>
            <a:stCxn id="14" idx="2"/>
            <a:endCxn id="17" idx="0"/>
          </p:cNvCxnSpPr>
          <p:nvPr/>
        </p:nvCxnSpPr>
        <p:spPr bwMode="auto">
          <a:xfrm>
            <a:off x="4046358" y="4899720"/>
            <a:ext cx="0" cy="386765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6336D857-52ED-48AA-9A24-5E0A47DF7C4D}"/>
              </a:ext>
            </a:extLst>
          </p:cNvPr>
          <p:cNvCxnSpPr>
            <a:stCxn id="5" idx="2"/>
          </p:cNvCxnSpPr>
          <p:nvPr/>
        </p:nvCxnSpPr>
        <p:spPr bwMode="auto">
          <a:xfrm>
            <a:off x="4046358" y="2492896"/>
            <a:ext cx="0" cy="293476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FC92CF2-63F3-4850-B786-1E80AE169C1B}"/>
              </a:ext>
            </a:extLst>
          </p:cNvPr>
          <p:cNvCxnSpPr>
            <a:endCxn id="14" idx="0"/>
          </p:cNvCxnSpPr>
          <p:nvPr/>
        </p:nvCxnSpPr>
        <p:spPr bwMode="auto">
          <a:xfrm>
            <a:off x="4046358" y="3806603"/>
            <a:ext cx="0" cy="265025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E1D3A44-D877-4206-9AFF-AD531DBEE640}"/>
              </a:ext>
            </a:extLst>
          </p:cNvPr>
          <p:cNvCxnSpPr>
            <a:stCxn id="17" idx="3"/>
            <a:endCxn id="7" idx="1"/>
          </p:cNvCxnSpPr>
          <p:nvPr/>
        </p:nvCxnSpPr>
        <p:spPr bwMode="auto">
          <a:xfrm>
            <a:off x="4964460" y="5700531"/>
            <a:ext cx="1680728" cy="1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1246AA05-67BC-4EE9-8D94-75D3CA2CC998}"/>
              </a:ext>
            </a:extLst>
          </p:cNvPr>
          <p:cNvCxnSpPr>
            <a:stCxn id="10" idx="3"/>
            <a:endCxn id="13" idx="1"/>
          </p:cNvCxnSpPr>
          <p:nvPr/>
        </p:nvCxnSpPr>
        <p:spPr bwMode="auto">
          <a:xfrm>
            <a:off x="5925108" y="3288227"/>
            <a:ext cx="440651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Pfeil: nach oben gekrümmt 11">
            <a:extLst>
              <a:ext uri="{FF2B5EF4-FFF2-40B4-BE49-F238E27FC236}">
                <a16:creationId xmlns:a16="http://schemas.microsoft.com/office/drawing/2014/main" id="{FAEEBDCE-C40F-44C8-B686-E69CE2A1B484}"/>
              </a:ext>
            </a:extLst>
          </p:cNvPr>
          <p:cNvSpPr/>
          <p:nvPr/>
        </p:nvSpPr>
        <p:spPr bwMode="auto">
          <a:xfrm>
            <a:off x="3722322" y="3394963"/>
            <a:ext cx="648072" cy="242237"/>
          </a:xfrm>
          <a:prstGeom prst="curvedUp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27" name="Pfeil: nach oben gekrümmt 26">
            <a:extLst>
              <a:ext uri="{FF2B5EF4-FFF2-40B4-BE49-F238E27FC236}">
                <a16:creationId xmlns:a16="http://schemas.microsoft.com/office/drawing/2014/main" id="{889A2627-F915-4237-8BAA-A2D016F060E2}"/>
              </a:ext>
            </a:extLst>
          </p:cNvPr>
          <p:cNvSpPr/>
          <p:nvPr/>
        </p:nvSpPr>
        <p:spPr bwMode="auto">
          <a:xfrm rot="10800000">
            <a:off x="3708822" y="2928269"/>
            <a:ext cx="648072" cy="242237"/>
          </a:xfrm>
          <a:prstGeom prst="curvedUp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19" name="Sprechblase: rechteckig mit abgerundeten Ecken 18">
            <a:extLst>
              <a:ext uri="{FF2B5EF4-FFF2-40B4-BE49-F238E27FC236}">
                <a16:creationId xmlns:a16="http://schemas.microsoft.com/office/drawing/2014/main" id="{21CB9E2F-7B4E-41A1-BD51-3AF6E9A609ED}"/>
              </a:ext>
            </a:extLst>
          </p:cNvPr>
          <p:cNvSpPr/>
          <p:nvPr/>
        </p:nvSpPr>
        <p:spPr bwMode="auto">
          <a:xfrm>
            <a:off x="7658485" y="2620620"/>
            <a:ext cx="2155055" cy="1865054"/>
          </a:xfrm>
          <a:prstGeom prst="wedgeRoundRectCallout">
            <a:avLst>
              <a:gd name="adj1" fmla="val -64967"/>
              <a:gd name="adj2" fmla="val 295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>
                <a:latin typeface="+mn-lt"/>
              </a:rPr>
              <a:t>Train-Test-Validation Split: </a:t>
            </a:r>
            <a:r>
              <a:rPr kumimoji="0" lang="de-CH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ヒラギノ角ゴ ProN W3" charset="0"/>
                <a:cs typeface="ヒラギノ角ゴ ProN W3" charset="0"/>
                <a:sym typeface="Neutraface Text Book" charset="0"/>
              </a:rPr>
              <a:t>80:10:10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smtClean="0">
                <a:latin typeface="+mn-lt"/>
              </a:rPr>
              <a:t>One-vs-Rest approach: multiclass classification used where each </a:t>
            </a:r>
            <a:r>
              <a:rPr lang="de-CH" sz="1200">
                <a:latin typeface="+mn-lt"/>
              </a:rPr>
              <a:t>classifier was trained independently </a:t>
            </a:r>
            <a:r>
              <a:rPr lang="de-CH" sz="1200" smtClean="0">
                <a:latin typeface="+mn-lt"/>
              </a:rPr>
              <a:t>for </a:t>
            </a:r>
            <a:r>
              <a:rPr lang="de-CH" sz="1200">
                <a:latin typeface="+mn-lt"/>
              </a:rPr>
              <a:t>the corresponding  attribute </a:t>
            </a:r>
            <a:r>
              <a:rPr lang="de-CH" sz="1200" smtClean="0">
                <a:latin typeface="+mn-lt"/>
              </a:rPr>
              <a:t>in the dataset</a:t>
            </a:r>
            <a:endParaRPr kumimoji="0" lang="de-CH" sz="1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0" name="Sprechblase: rechteckig mit abgerundeten Ecken 29">
                <a:extLst>
                  <a:ext uri="{FF2B5EF4-FFF2-40B4-BE49-F238E27FC236}">
                    <a16:creationId xmlns:a16="http://schemas.microsoft.com/office/drawing/2014/main" id="{72F02271-62C3-4D5B-BB74-D50397FCB035}"/>
                  </a:ext>
                </a:extLst>
              </p:cNvPr>
              <p:cNvSpPr/>
              <p:nvPr/>
            </p:nvSpPr>
            <p:spPr bwMode="auto">
              <a:xfrm>
                <a:off x="5259037" y="3990088"/>
                <a:ext cx="2070227" cy="1115969"/>
              </a:xfrm>
              <a:prstGeom prst="wedgeRoundRectCallout">
                <a:avLst>
                  <a:gd name="adj1" fmla="val -63439"/>
                  <a:gd name="adj2" fmla="val 39805"/>
                  <a:gd name="adj3" fmla="val 16667"/>
                </a:avLst>
              </a:prstGeom>
              <a:solidFill>
                <a:srgbClr val="FFD13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71450" marR="0" indent="-17145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</a:pPr>
                <a:r>
                  <a:rPr lang="de-CH" sz="1200" smtClean="0">
                    <a:latin typeface="+mn-lt"/>
                  </a:rPr>
                  <a:t>Fitting one </a:t>
                </a:r>
                <a:r>
                  <a:rPr lang="de-CH" sz="1200">
                    <a:latin typeface="+mn-lt"/>
                  </a:rPr>
                  <a:t>classifier </a:t>
                </a:r>
                <a:r>
                  <a:rPr lang="de-CH" sz="1200" smtClean="0">
                    <a:latin typeface="+mn-lt"/>
                  </a:rPr>
                  <a:t>per</a:t>
                </a:r>
                <a:r>
                  <a:rPr lang="de-CH" sz="1200" smtClean="0">
                    <a:latin typeface="+mn-lt"/>
                  </a:rPr>
                  <a:t> </a:t>
                </a:r>
                <a:r>
                  <a:rPr lang="de-CH" sz="1200">
                    <a:latin typeface="+mn-lt"/>
                  </a:rPr>
                  <a:t>attribute</a:t>
                </a:r>
              </a:p>
              <a:p>
                <a:pPr marL="171450" indent="-171450" eaLnBrk="1" hangingPunct="1">
                  <a:buFont typeface="Arial" panose="020B0604020202020204" pitchFamily="34" charset="0"/>
                  <a:buChar char="•"/>
                </a:pPr>
                <a:r>
                  <a:rPr lang="de-CH" sz="1200">
                    <a:latin typeface="+mn-lt"/>
                  </a:rPr>
                  <a:t>Model accuracy</a:t>
                </a:r>
                <a:r>
                  <a:rPr lang="de-CH" sz="1200" smtClean="0">
                    <a:latin typeface="+mn-lt"/>
                  </a:rPr>
                  <a:t>: </a:t>
                </a:r>
                <a14:m>
                  <m:oMath xmlns:m="http://schemas.openxmlformats.org/officeDocument/2006/math">
                    <m:r>
                      <a:rPr lang="de-CH" sz="1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∅</m:t>
                    </m:r>
                  </m:oMath>
                </a14:m>
                <a:r>
                  <a:rPr lang="de-CH" sz="1200"/>
                  <a:t> </a:t>
                </a:r>
                <a:r>
                  <a:rPr lang="de-CH" sz="1200" smtClean="0"/>
                  <a:t>55%</a:t>
                </a:r>
                <a:r>
                  <a:rPr lang="de-CH" sz="1200"/>
                  <a:t> </a:t>
                </a:r>
                <a:r>
                  <a:rPr lang="de-CH" sz="1200" smtClean="0"/>
                  <a:t>up to</a:t>
                </a:r>
                <a:r>
                  <a:rPr lang="de-CH" sz="1200" smtClean="0">
                    <a:latin typeface="+mn-lt"/>
                  </a:rPr>
                  <a:t> </a:t>
                </a:r>
                <a14:m>
                  <m:oMath xmlns:m="http://schemas.openxmlformats.org/officeDocument/2006/math">
                    <m:r>
                      <a:rPr lang="de-CH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∅</m:t>
                    </m:r>
                  </m:oMath>
                </a14:m>
                <a:r>
                  <a:rPr lang="de-CH" sz="1200" smtClean="0">
                    <a:latin typeface="+mn-lt"/>
                  </a:rPr>
                  <a:t> </a:t>
                </a:r>
                <a:r>
                  <a:rPr lang="de-CH" sz="1200">
                    <a:latin typeface="+mn-lt"/>
                  </a:rPr>
                  <a:t>73</a:t>
                </a:r>
                <a:r>
                  <a:rPr lang="de-CH" sz="1200" smtClean="0">
                    <a:latin typeface="+mn-lt"/>
                  </a:rPr>
                  <a:t>% (official benchmark: </a:t>
                </a:r>
                <a14:m>
                  <m:oMath xmlns:m="http://schemas.openxmlformats.org/officeDocument/2006/math">
                    <m:r>
                      <a:rPr lang="de-CH" sz="1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∅</m:t>
                    </m:r>
                  </m:oMath>
                </a14:m>
                <a:r>
                  <a:rPr lang="de-CH" sz="1200"/>
                  <a:t> </a:t>
                </a:r>
                <a:r>
                  <a:rPr lang="de-CH" sz="1200" smtClean="0"/>
                  <a:t>80%</a:t>
                </a:r>
                <a:r>
                  <a:rPr lang="de-CH" sz="1200" smtClean="0">
                    <a:latin typeface="+mn-lt"/>
                  </a:rPr>
                  <a:t>)</a:t>
                </a:r>
                <a:endParaRPr lang="de-CH" sz="1200">
                  <a:latin typeface="+mn-lt"/>
                </a:endParaRPr>
              </a:p>
            </p:txBody>
          </p:sp>
        </mc:Choice>
        <mc:Fallback>
          <p:sp>
            <p:nvSpPr>
              <p:cNvPr id="30" name="Sprechblase: rechteckig mit abgerundeten Ecken 29">
                <a:extLst>
                  <a:ext uri="{FF2B5EF4-FFF2-40B4-BE49-F238E27FC236}">
                    <a16:creationId xmlns:a16="http://schemas.microsoft.com/office/drawing/2014/main" id="{72F02271-62C3-4D5B-BB74-D50397FCB03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259037" y="3990088"/>
                <a:ext cx="2070227" cy="1115969"/>
              </a:xfrm>
              <a:prstGeom prst="wedgeRoundRectCallout">
                <a:avLst>
                  <a:gd name="adj1" fmla="val -63439"/>
                  <a:gd name="adj2" fmla="val 39805"/>
                  <a:gd name="adj3" fmla="val 16667"/>
                </a:avLst>
              </a:prstGeom>
              <a:blipFill>
                <a:blip r:embed="rId3"/>
                <a:stretch>
                  <a:fillRect/>
                </a:stretch>
              </a:blip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Sprechblase: rechteckig mit abgerundeten Ecken 31">
            <a:extLst>
              <a:ext uri="{FF2B5EF4-FFF2-40B4-BE49-F238E27FC236}">
                <a16:creationId xmlns:a16="http://schemas.microsoft.com/office/drawing/2014/main" id="{08EDACF1-DFFE-4802-A6D3-C160FF072A90}"/>
              </a:ext>
            </a:extLst>
          </p:cNvPr>
          <p:cNvSpPr/>
          <p:nvPr/>
        </p:nvSpPr>
        <p:spPr bwMode="auto">
          <a:xfrm>
            <a:off x="5259036" y="1268392"/>
            <a:ext cx="3207102" cy="1103935"/>
          </a:xfrm>
          <a:prstGeom prst="wedgeRoundRectCallout">
            <a:avLst>
              <a:gd name="adj1" fmla="val -63439"/>
              <a:gd name="adj2" fmla="val 39805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smtClean="0">
                <a:latin typeface="+mn-lt"/>
              </a:rPr>
              <a:t>Resize images to same dimensions (300,300)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smtClean="0">
                <a:latin typeface="+mn-lt"/>
              </a:rPr>
              <a:t>Remove corrupt images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smtClean="0">
                <a:latin typeface="+mn-lt"/>
              </a:rPr>
              <a:t>Label antonym negatives for attributes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smtClean="0">
                <a:latin typeface="+mn-lt"/>
              </a:rPr>
              <a:t>Data augmentation</a:t>
            </a:r>
            <a:endParaRPr lang="de-CH" sz="1200">
              <a:latin typeface="+mn-lt"/>
            </a:endParaRPr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660740"/>
            <a:ext cx="9903070" cy="224644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</a:t>
            </a:r>
            <a:r>
              <a:rPr lang="de-DE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Listening</a:t>
            </a:r>
            <a:endParaRPr lang="de-DE" b="1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9165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Limitations and Improvements</a:t>
            </a:r>
            <a:endParaRPr lang="en-GB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8C283B-8D8F-4AD8-8AA8-F611770EA3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344" y="1236078"/>
            <a:ext cx="9118241" cy="4628321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 b="1" smtClean="0"/>
              <a:t>Back-end development: </a:t>
            </a:r>
            <a:r>
              <a:rPr lang="de-CH" smtClean="0"/>
              <a:t>tested model on images sourced with Github Instagram API, application still </a:t>
            </a:r>
            <a:r>
              <a:rPr lang="de-CH" err="1" smtClean="0"/>
              <a:t>pending</a:t>
            </a:r>
            <a:r>
              <a:rPr lang="de-CH" smtClean="0"/>
              <a:t> for Pinterest API on Pinterest Developers 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 smtClean="0"/>
              <a:t>Downloaded 23.2 GB worth of Flickr images, 1000 for all 12 attributes (+8) using Java/ shell script, made infinite scroll possible for sourcing Instagram images, copyright/licenses/royalties, bypass video URLs, age-limited http request blockages 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 smtClean="0"/>
              <a:t>Enlarged </a:t>
            </a:r>
            <a:r>
              <a:rPr lang="de-CH"/>
              <a:t>pipeline </a:t>
            </a:r>
            <a:r>
              <a:rPr lang="de-CH" smtClean="0"/>
              <a:t>throughput: ameliorated model accuracy (or F1-score) to 91.13% for healthy attribute, but necessitates complexity vs. slimmed-down model design for user-friendliness and fast computing results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/>
              <a:t>Trained Model reiterations: changed approach from one model to OneVsRest models, used different </a:t>
            </a:r>
            <a:r>
              <a:rPr lang="de-CH"/>
              <a:t>pretrained </a:t>
            </a:r>
            <a:r>
              <a:rPr lang="de-CH" smtClean="0"/>
              <a:t>models resnet50, resnet100, and </a:t>
            </a:r>
            <a:r>
              <a:rPr lang="de-CH"/>
              <a:t>vgg16 and weights and sized them up through cross-validation, batch-trained , use multilabel instead of multiclass 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 b="1" smtClean="0"/>
              <a:t>Front-end development: </a:t>
            </a:r>
            <a:r>
              <a:rPr lang="de-CH" smtClean="0"/>
              <a:t>solved</a:t>
            </a:r>
            <a:r>
              <a:rPr lang="de-CH" b="1" smtClean="0"/>
              <a:t> </a:t>
            </a:r>
            <a:r>
              <a:rPr lang="de-CH" smtClean="0"/>
              <a:t>naming idiosyncrasies of official Instagram brand accounts, saved images to variable not onto user’s desktop client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 smtClean="0"/>
              <a:t>Tentative deployment on Google App Engine, portability across browsers, responsive design, UI/UX design, user traffic, multimedia document embedding </a:t>
            </a:r>
          </a:p>
          <a:p>
            <a:pPr marL="285750" indent="-285750">
              <a:buFontTx/>
              <a:buChar char="-"/>
            </a:pPr>
            <a:endParaRPr lang="de-CH" smtClean="0"/>
          </a:p>
          <a:p>
            <a:pPr marL="285750" indent="-285750">
              <a:buFontTx/>
              <a:buChar char="-"/>
            </a:pPr>
            <a:endParaRPr lang="de-CH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660740"/>
            <a:ext cx="9903070" cy="224644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</a:t>
            </a:r>
            <a:r>
              <a:rPr lang="de-DE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Listening</a:t>
            </a:r>
            <a:endParaRPr lang="de-DE" b="1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2" name="Titolo 3"/>
          <p:cNvSpPr>
            <a:spLocks noGrp="1"/>
          </p:cNvSpPr>
          <p:nvPr>
            <p:ph type="title"/>
          </p:nvPr>
        </p:nvSpPr>
        <p:spPr bwMode="auto">
          <a:xfrm>
            <a:off x="619125" y="2408238"/>
            <a:ext cx="8648700" cy="6604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noProof="1" smtClean="0">
                <a:latin typeface="Source Sans Pro Semibold" charset="0"/>
                <a:ea typeface="ヒラギノ角ゴ ProN W3" charset="0"/>
                <a:cs typeface="Source Sans Pro Semibold" charset="0"/>
              </a:rPr>
              <a:t>            </a:t>
            </a:r>
            <a:endParaRPr lang="en-US" noProof="1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9A499-C810-4816-A32B-35813142AF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1" smtClean="0">
                <a:latin typeface="Neutraface Text Book" charset="0"/>
                <a:ea typeface="ヒラギノ角ゴ ProN W3" charset="0"/>
                <a:cs typeface="Neutraface Text Book" charset="0"/>
              </a:rPr>
              <a:t>Neeraj Kumar | Linda Samsinger  | Theebana Rajendram | Vincent Rüegge</a:t>
            </a:r>
          </a:p>
          <a:p>
            <a:endParaRPr lang="en-US" noProof="1"/>
          </a:p>
        </p:txBody>
      </p:sp>
      <p:sp>
        <p:nvSpPr>
          <p:cNvPr id="5" name="Titel 3"/>
          <p:cNvSpPr>
            <a:spLocks noGrp="1"/>
          </p:cNvSpPr>
          <p:nvPr>
            <p:ph idx="1"/>
          </p:nvPr>
        </p:nvSpPr>
        <p:spPr bwMode="auto">
          <a:xfrm>
            <a:off x="619125" y="2528888"/>
            <a:ext cx="8648700" cy="22860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4400" noProof="1" smtClean="0">
                <a:latin typeface="Berlin Sans FB" panose="020E0602020502020306" pitchFamily="34" charset="0"/>
                <a:ea typeface="ヒラギノ角ゴ ProN W3" charset="0"/>
                <a:cs typeface="Arial" panose="020B0604020202020204" pitchFamily="34" charset="0"/>
              </a:rPr>
              <a:t>Thank you for listening!</a:t>
            </a:r>
            <a:endParaRPr lang="en-US" sz="4400" noProof="1">
              <a:latin typeface="Berlin Sans FB" panose="020E0602020502020306" pitchFamily="34" charset="0"/>
              <a:ea typeface="ヒラギノ角ゴ ProN W3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iTlrkUqEefLLVWTqt4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7yUHye.U2oBkBlDQDe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8.vsoOESO2Nq0iful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iTlrkUqEefLLVWTqt4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7yUHye.U2oBkBlDQDe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8.vsoOESO2Nq0ifulQg"/>
</p:tagLst>
</file>

<file path=ppt/theme/theme1.xml><?xml version="1.0" encoding="utf-8"?>
<a:theme xmlns:a="http://schemas.openxmlformats.org/drawingml/2006/main" name="Greenpeace_Presentation">
  <a:themeElements>
    <a:clrScheme name="Custom 1">
      <a:dk1>
        <a:srgbClr val="00009B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70C0"/>
      </a:hlink>
      <a:folHlink>
        <a:srgbClr val="99CC00"/>
      </a:folHlink>
    </a:clrScheme>
    <a:fontScheme name="text cat 1">
      <a:majorFont>
        <a:latin typeface="Neutraface Text Book"/>
        <a:ea typeface="ヒラギノ角ゴ ProN W3"/>
        <a:cs typeface="ヒラギノ角ゴ ProN W3"/>
      </a:majorFont>
      <a:minorFont>
        <a:latin typeface="Neutraface Text Book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lnDef>
  </a:objectDefaults>
  <a:extraClrSchemeLst>
    <a:extraClrScheme>
      <a:clrScheme name="text cat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2D139C2-9CC7-49AF-9020-15A0AF14A24C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Greenpeace_Presentation.potx</Template>
  <TotalTime>0</TotalTime>
  <Pages>0</Pages>
  <Words>925</Words>
  <Characters>0</Characters>
  <Application>Microsoft Office PowerPoint</Application>
  <PresentationFormat>A4 Paper (210x297 mm)</PresentationFormat>
  <Lines>0</Lines>
  <Paragraphs>112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5" baseType="lpstr">
      <vt:lpstr>MS PGothic</vt:lpstr>
      <vt:lpstr>Arial</vt:lpstr>
      <vt:lpstr>Berlin Sans FB</vt:lpstr>
      <vt:lpstr>Calibri</vt:lpstr>
      <vt:lpstr>Cambria Math</vt:lpstr>
      <vt:lpstr>Monotype Sorts</vt:lpstr>
      <vt:lpstr>Neutraface Text Bold</vt:lpstr>
      <vt:lpstr>Neutraface Text Book</vt:lpstr>
      <vt:lpstr>NeutrafaceText-DemiAlt</vt:lpstr>
      <vt:lpstr>NeutrafaceText-Light</vt:lpstr>
      <vt:lpstr>Source Sans Pro</vt:lpstr>
      <vt:lpstr>Source Sans Pro Bold</vt:lpstr>
      <vt:lpstr>Source Sans Pro Light</vt:lpstr>
      <vt:lpstr>Source Sans Pro Semibold</vt:lpstr>
      <vt:lpstr>ヒラギノ角ゴ ProN W3</vt:lpstr>
      <vt:lpstr>Greenpeace_Presentation</vt:lpstr>
      <vt:lpstr>think-cell Slide</vt:lpstr>
      <vt:lpstr>Visual Listening</vt:lpstr>
      <vt:lpstr>Agenda</vt:lpstr>
      <vt:lpstr>Introduction</vt:lpstr>
      <vt:lpstr>Benefits of a Brand Management Web Tool for Marketing Personnel </vt:lpstr>
      <vt:lpstr>Design of the Deep Learning Model Architecture</vt:lpstr>
      <vt:lpstr>From Image Data to Model Deployment on a Web App</vt:lpstr>
      <vt:lpstr>Limitations and Improvements</vt:lpstr>
      <vt:lpstr>            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Meierer</dc:creator>
  <cp:lastModifiedBy>Linda Samsinger (lsamsi)</cp:lastModifiedBy>
  <cp:revision>1104</cp:revision>
  <cp:lastPrinted>2017-02-09T19:24:07Z</cp:lastPrinted>
  <dcterms:created xsi:type="dcterms:W3CDTF">2012-01-01T19:20:04Z</dcterms:created>
  <dcterms:modified xsi:type="dcterms:W3CDTF">2020-04-21T10:19:17Z</dcterms:modified>
</cp:coreProperties>
</file>